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8"/>
  </p:notesMasterIdLst>
  <p:sldIdLst>
    <p:sldId id="396" r:id="rId2"/>
    <p:sldId id="266" r:id="rId3"/>
    <p:sldId id="392" r:id="rId4"/>
    <p:sldId id="393" r:id="rId5"/>
    <p:sldId id="394" r:id="rId6"/>
    <p:sldId id="395" r:id="rId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11"/>
    <p:restoredTop sz="94694"/>
  </p:normalViewPr>
  <p:slideViewPr>
    <p:cSldViewPr snapToGrid="0" snapToObjects="1">
      <p:cViewPr varScale="1">
        <p:scale>
          <a:sx n="116" d="100"/>
          <a:sy n="116" d="100"/>
        </p:scale>
        <p:origin x="114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A32121-B0DF-C14D-91B8-34CB21743DA4}" type="datetimeFigureOut">
              <a:rPr lang="en-US" smtClean="0"/>
              <a:t>1/23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B78897-C5FC-1744-B46F-3532F4903F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56235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A8A74ED-F9CF-C840-8327-C350C2371A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D2DCF1-A799-2944-A7A1-E200D232119D}" type="datetimeFigureOut">
              <a:rPr lang="en-US" smtClean="0"/>
              <a:t>1/23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FA14ED3-357E-4844-8A7B-295726EDC8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5378DC-B40B-484A-A545-763DE64A32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56B140-A667-444D-9C49-3AE529710F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28927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9928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98552CF-145A-A049-A1E2-31168CD069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A181762-D408-A545-A8D6-EA079F16DA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221945-DD78-894C-B41C-A4F8750F559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D2DCF1-A799-2944-A7A1-E200D232119D}" type="datetimeFigureOut">
              <a:rPr lang="en-US" smtClean="0"/>
              <a:t>1/23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3C810D-9D27-4745-9F07-CD50FC0F7E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80BCE2-90FD-2747-B3C8-078318F0AF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56B140-A667-444D-9C49-3AE529710F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0104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464907" y="1210962"/>
            <a:ext cx="3286897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b="1" cap="small" dirty="0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lang="en-US" sz="5400" b="1" cap="small" dirty="0" smtClean="0">
                <a:latin typeface="Arial" panose="020B0604020202020204" pitchFamily="34" charset="0"/>
                <a:cs typeface="Arial" panose="020B0604020202020204" pitchFamily="34" charset="0"/>
              </a:rPr>
              <a:t>eal</a:t>
            </a:r>
          </a:p>
          <a:p>
            <a:r>
              <a:rPr lang="en-US" sz="5400" b="1" cap="small" dirty="0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en-US" sz="5400" b="1" cap="small" dirty="0" smtClean="0">
                <a:latin typeface="Arial" panose="020B0604020202020204" pitchFamily="34" charset="0"/>
                <a:cs typeface="Arial" panose="020B0604020202020204" pitchFamily="34" charset="0"/>
              </a:rPr>
              <a:t>state</a:t>
            </a:r>
          </a:p>
          <a:p>
            <a:r>
              <a:rPr lang="en-US" sz="5400" b="1" cap="small" dirty="0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r>
              <a:rPr lang="en-US" sz="5400" b="1" cap="small" dirty="0" smtClean="0">
                <a:latin typeface="Arial" panose="020B0604020202020204" pitchFamily="34" charset="0"/>
                <a:cs typeface="Arial" panose="020B0604020202020204" pitchFamily="34" charset="0"/>
              </a:rPr>
              <a:t>etwork</a:t>
            </a:r>
          </a:p>
          <a:p>
            <a:r>
              <a:rPr lang="en-US" sz="5400" b="1" cap="small" dirty="0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-US" sz="5400" b="1" cap="small" dirty="0" smtClean="0">
                <a:latin typeface="Arial" panose="020B0604020202020204" pitchFamily="34" charset="0"/>
                <a:cs typeface="Arial" panose="020B0604020202020204" pitchFamily="34" charset="0"/>
              </a:rPr>
              <a:t>oken</a:t>
            </a:r>
            <a:endParaRPr lang="en-US" sz="5400" b="1" cap="smal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40043" y="6359610"/>
            <a:ext cx="50827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By: Roberto Cantu, Cristian </a:t>
            </a:r>
            <a:r>
              <a:rPr lang="en-US" dirty="0" err="1" smtClean="0"/>
              <a:t>Smoger</a:t>
            </a:r>
            <a:r>
              <a:rPr lang="en-US" dirty="0" smtClean="0"/>
              <a:t>, and Mina Kasra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5282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/>
          <p:cNvSpPr/>
          <p:nvPr/>
        </p:nvSpPr>
        <p:spPr>
          <a:xfrm>
            <a:off x="0" y="4683306"/>
            <a:ext cx="12192000" cy="143809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4208463" y="1134220"/>
            <a:ext cx="3775074" cy="3205968"/>
            <a:chOff x="2359025" y="1338263"/>
            <a:chExt cx="4422776" cy="3756026"/>
          </a:xfrm>
        </p:grpSpPr>
        <p:sp>
          <p:nvSpPr>
            <p:cNvPr id="7" name="Freeform 5"/>
            <p:cNvSpPr>
              <a:spLocks/>
            </p:cNvSpPr>
            <p:nvPr/>
          </p:nvSpPr>
          <p:spPr bwMode="auto">
            <a:xfrm>
              <a:off x="5141913" y="1898651"/>
              <a:ext cx="838200" cy="1660525"/>
            </a:xfrm>
            <a:custGeom>
              <a:avLst/>
              <a:gdLst>
                <a:gd name="T0" fmla="*/ 311 w 311"/>
                <a:gd name="T1" fmla="*/ 615 h 615"/>
                <a:gd name="T2" fmla="*/ 311 w 311"/>
                <a:gd name="T3" fmla="*/ 28 h 615"/>
                <a:gd name="T4" fmla="*/ 0 w 311"/>
                <a:gd name="T5" fmla="*/ 0 h 615"/>
                <a:gd name="T6" fmla="*/ 0 w 311"/>
                <a:gd name="T7" fmla="*/ 564 h 615"/>
                <a:gd name="T8" fmla="*/ 311 w 311"/>
                <a:gd name="T9" fmla="*/ 615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1" h="615">
                  <a:moveTo>
                    <a:pt x="311" y="615"/>
                  </a:moveTo>
                  <a:cubicBezTo>
                    <a:pt x="311" y="28"/>
                    <a:pt x="311" y="28"/>
                    <a:pt x="311" y="28"/>
                  </a:cubicBezTo>
                  <a:cubicBezTo>
                    <a:pt x="215" y="10"/>
                    <a:pt x="110" y="0"/>
                    <a:pt x="0" y="0"/>
                  </a:cubicBezTo>
                  <a:cubicBezTo>
                    <a:pt x="0" y="564"/>
                    <a:pt x="0" y="564"/>
                    <a:pt x="0" y="564"/>
                  </a:cubicBezTo>
                  <a:cubicBezTo>
                    <a:pt x="118" y="564"/>
                    <a:pt x="227" y="583"/>
                    <a:pt x="311" y="615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5276850" y="3054351"/>
              <a:ext cx="1504950" cy="1987550"/>
            </a:xfrm>
            <a:custGeom>
              <a:avLst/>
              <a:gdLst>
                <a:gd name="T0" fmla="*/ 550 w 558"/>
                <a:gd name="T1" fmla="*/ 164 h 737"/>
                <a:gd name="T2" fmla="*/ 550 w 558"/>
                <a:gd name="T3" fmla="*/ 199 h 737"/>
                <a:gd name="T4" fmla="*/ 263 w 558"/>
                <a:gd name="T5" fmla="*/ 107 h 737"/>
                <a:gd name="T6" fmla="*/ 49 w 558"/>
                <a:gd name="T7" fmla="*/ 0 h 737"/>
                <a:gd name="T8" fmla="*/ 49 w 558"/>
                <a:gd name="T9" fmla="*/ 221 h 737"/>
                <a:gd name="T10" fmla="*/ 51 w 558"/>
                <a:gd name="T11" fmla="*/ 221 h 737"/>
                <a:gd name="T12" fmla="*/ 226 w 558"/>
                <a:gd name="T13" fmla="*/ 389 h 737"/>
                <a:gd name="T14" fmla="*/ 0 w 558"/>
                <a:gd name="T15" fmla="*/ 511 h 737"/>
                <a:gd name="T16" fmla="*/ 0 w 558"/>
                <a:gd name="T17" fmla="*/ 737 h 737"/>
                <a:gd name="T18" fmla="*/ 558 w 558"/>
                <a:gd name="T19" fmla="*/ 389 h 737"/>
                <a:gd name="T20" fmla="*/ 558 w 558"/>
                <a:gd name="T21" fmla="*/ 164 h 737"/>
                <a:gd name="T22" fmla="*/ 550 w 558"/>
                <a:gd name="T23" fmla="*/ 16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58" h="737">
                  <a:moveTo>
                    <a:pt x="550" y="164"/>
                  </a:moveTo>
                  <a:cubicBezTo>
                    <a:pt x="550" y="199"/>
                    <a:pt x="550" y="199"/>
                    <a:pt x="550" y="199"/>
                  </a:cubicBezTo>
                  <a:cubicBezTo>
                    <a:pt x="522" y="106"/>
                    <a:pt x="416" y="164"/>
                    <a:pt x="263" y="107"/>
                  </a:cubicBezTo>
                  <a:cubicBezTo>
                    <a:pt x="199" y="83"/>
                    <a:pt x="127" y="15"/>
                    <a:pt x="49" y="0"/>
                  </a:cubicBezTo>
                  <a:cubicBezTo>
                    <a:pt x="49" y="221"/>
                    <a:pt x="49" y="221"/>
                    <a:pt x="49" y="221"/>
                  </a:cubicBezTo>
                  <a:cubicBezTo>
                    <a:pt x="50" y="221"/>
                    <a:pt x="50" y="221"/>
                    <a:pt x="51" y="221"/>
                  </a:cubicBezTo>
                  <a:cubicBezTo>
                    <a:pt x="158" y="261"/>
                    <a:pt x="226" y="322"/>
                    <a:pt x="226" y="389"/>
                  </a:cubicBezTo>
                  <a:cubicBezTo>
                    <a:pt x="226" y="466"/>
                    <a:pt x="136" y="472"/>
                    <a:pt x="0" y="511"/>
                  </a:cubicBezTo>
                  <a:cubicBezTo>
                    <a:pt x="0" y="737"/>
                    <a:pt x="0" y="737"/>
                    <a:pt x="0" y="737"/>
                  </a:cubicBezTo>
                  <a:cubicBezTo>
                    <a:pt x="324" y="688"/>
                    <a:pt x="558" y="551"/>
                    <a:pt x="558" y="389"/>
                  </a:cubicBezTo>
                  <a:cubicBezTo>
                    <a:pt x="558" y="164"/>
                    <a:pt x="558" y="164"/>
                    <a:pt x="558" y="164"/>
                  </a:cubicBezTo>
                  <a:lnTo>
                    <a:pt x="550" y="164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4989513" y="4062413"/>
              <a:ext cx="287338" cy="979488"/>
            </a:xfrm>
            <a:custGeom>
              <a:avLst/>
              <a:gdLst>
                <a:gd name="T0" fmla="*/ 0 w 181"/>
                <a:gd name="T1" fmla="*/ 0 h 617"/>
                <a:gd name="T2" fmla="*/ 0 w 181"/>
                <a:gd name="T3" fmla="*/ 356 h 617"/>
                <a:gd name="T4" fmla="*/ 181 w 181"/>
                <a:gd name="T5" fmla="*/ 617 h 617"/>
                <a:gd name="T6" fmla="*/ 181 w 181"/>
                <a:gd name="T7" fmla="*/ 240 h 617"/>
                <a:gd name="T8" fmla="*/ 0 w 181"/>
                <a:gd name="T9" fmla="*/ 0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" h="617">
                  <a:moveTo>
                    <a:pt x="0" y="0"/>
                  </a:moveTo>
                  <a:lnTo>
                    <a:pt x="0" y="356"/>
                  </a:lnTo>
                  <a:lnTo>
                    <a:pt x="181" y="617"/>
                  </a:lnTo>
                  <a:lnTo>
                    <a:pt x="181" y="24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2663825" y="1462088"/>
              <a:ext cx="1905000" cy="2652713"/>
            </a:xfrm>
            <a:custGeom>
              <a:avLst/>
              <a:gdLst>
                <a:gd name="T0" fmla="*/ 706 w 706"/>
                <a:gd name="T1" fmla="*/ 760 h 983"/>
                <a:gd name="T2" fmla="*/ 706 w 706"/>
                <a:gd name="T3" fmla="*/ 0 h 983"/>
                <a:gd name="T4" fmla="*/ 0 w 706"/>
                <a:gd name="T5" fmla="*/ 180 h 983"/>
                <a:gd name="T6" fmla="*/ 0 w 706"/>
                <a:gd name="T7" fmla="*/ 983 h 983"/>
                <a:gd name="T8" fmla="*/ 219 w 706"/>
                <a:gd name="T9" fmla="*/ 983 h 983"/>
                <a:gd name="T10" fmla="*/ 218 w 706"/>
                <a:gd name="T11" fmla="*/ 979 h 983"/>
                <a:gd name="T12" fmla="*/ 706 w 706"/>
                <a:gd name="T13" fmla="*/ 760 h 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6" h="983">
                  <a:moveTo>
                    <a:pt x="706" y="760"/>
                  </a:moveTo>
                  <a:cubicBezTo>
                    <a:pt x="706" y="0"/>
                    <a:pt x="706" y="0"/>
                    <a:pt x="706" y="0"/>
                  </a:cubicBezTo>
                  <a:cubicBezTo>
                    <a:pt x="405" y="0"/>
                    <a:pt x="143" y="72"/>
                    <a:pt x="0" y="180"/>
                  </a:cubicBezTo>
                  <a:cubicBezTo>
                    <a:pt x="0" y="983"/>
                    <a:pt x="0" y="983"/>
                    <a:pt x="0" y="983"/>
                  </a:cubicBezTo>
                  <a:cubicBezTo>
                    <a:pt x="219" y="983"/>
                    <a:pt x="219" y="983"/>
                    <a:pt x="219" y="983"/>
                  </a:cubicBezTo>
                  <a:cubicBezTo>
                    <a:pt x="219" y="982"/>
                    <a:pt x="218" y="980"/>
                    <a:pt x="218" y="979"/>
                  </a:cubicBezTo>
                  <a:cubicBezTo>
                    <a:pt x="218" y="858"/>
                    <a:pt x="437" y="760"/>
                    <a:pt x="706" y="760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auto">
            <a:xfrm>
              <a:off x="2663825" y="2627313"/>
              <a:ext cx="771525" cy="1978025"/>
            </a:xfrm>
            <a:custGeom>
              <a:avLst/>
              <a:gdLst>
                <a:gd name="T0" fmla="*/ 486 w 486"/>
                <a:gd name="T1" fmla="*/ 0 h 1246"/>
                <a:gd name="T2" fmla="*/ 486 w 486"/>
                <a:gd name="T3" fmla="*/ 1011 h 1246"/>
                <a:gd name="T4" fmla="*/ 0 w 486"/>
                <a:gd name="T5" fmla="*/ 1246 h 1246"/>
                <a:gd name="T6" fmla="*/ 0 w 486"/>
                <a:gd name="T7" fmla="*/ 116 h 1246"/>
                <a:gd name="T8" fmla="*/ 486 w 486"/>
                <a:gd name="T9" fmla="*/ 0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6" h="1246">
                  <a:moveTo>
                    <a:pt x="486" y="0"/>
                  </a:moveTo>
                  <a:lnTo>
                    <a:pt x="486" y="1011"/>
                  </a:lnTo>
                  <a:lnTo>
                    <a:pt x="0" y="1246"/>
                  </a:lnTo>
                  <a:lnTo>
                    <a:pt x="0" y="116"/>
                  </a:lnTo>
                  <a:lnTo>
                    <a:pt x="48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2663825" y="4219576"/>
              <a:ext cx="2613025" cy="874713"/>
            </a:xfrm>
            <a:custGeom>
              <a:avLst/>
              <a:gdLst>
                <a:gd name="T0" fmla="*/ 862 w 968"/>
                <a:gd name="T1" fmla="*/ 164 h 324"/>
                <a:gd name="T2" fmla="*/ 706 w 968"/>
                <a:gd name="T3" fmla="*/ 175 h 324"/>
                <a:gd name="T4" fmla="*/ 695 w 968"/>
                <a:gd name="T5" fmla="*/ 175 h 324"/>
                <a:gd name="T6" fmla="*/ 687 w 968"/>
                <a:gd name="T7" fmla="*/ 175 h 324"/>
                <a:gd name="T8" fmla="*/ 286 w 968"/>
                <a:gd name="T9" fmla="*/ 68 h 324"/>
                <a:gd name="T10" fmla="*/ 219 w 968"/>
                <a:gd name="T11" fmla="*/ 0 h 324"/>
                <a:gd name="T12" fmla="*/ 0 w 968"/>
                <a:gd name="T13" fmla="*/ 58 h 324"/>
                <a:gd name="T14" fmla="*/ 0 w 968"/>
                <a:gd name="T15" fmla="*/ 143 h 324"/>
                <a:gd name="T16" fmla="*/ 687 w 968"/>
                <a:gd name="T17" fmla="*/ 324 h 324"/>
                <a:gd name="T18" fmla="*/ 706 w 968"/>
                <a:gd name="T19" fmla="*/ 324 h 324"/>
                <a:gd name="T20" fmla="*/ 968 w 968"/>
                <a:gd name="T21" fmla="*/ 305 h 324"/>
                <a:gd name="T22" fmla="*/ 968 w 968"/>
                <a:gd name="T23" fmla="*/ 219 h 324"/>
                <a:gd name="T24" fmla="*/ 862 w 968"/>
                <a:gd name="T25" fmla="*/ 164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8" h="324">
                  <a:moveTo>
                    <a:pt x="862" y="164"/>
                  </a:moveTo>
                  <a:cubicBezTo>
                    <a:pt x="813" y="171"/>
                    <a:pt x="761" y="175"/>
                    <a:pt x="706" y="175"/>
                  </a:cubicBezTo>
                  <a:cubicBezTo>
                    <a:pt x="702" y="175"/>
                    <a:pt x="699" y="175"/>
                    <a:pt x="695" y="175"/>
                  </a:cubicBezTo>
                  <a:cubicBezTo>
                    <a:pt x="692" y="175"/>
                    <a:pt x="690" y="175"/>
                    <a:pt x="687" y="175"/>
                  </a:cubicBezTo>
                  <a:cubicBezTo>
                    <a:pt x="516" y="172"/>
                    <a:pt x="368" y="130"/>
                    <a:pt x="286" y="68"/>
                  </a:cubicBezTo>
                  <a:cubicBezTo>
                    <a:pt x="245" y="36"/>
                    <a:pt x="221" y="39"/>
                    <a:pt x="219" y="0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140" y="249"/>
                    <a:pt x="395" y="321"/>
                    <a:pt x="687" y="324"/>
                  </a:cubicBezTo>
                  <a:cubicBezTo>
                    <a:pt x="694" y="324"/>
                    <a:pt x="700" y="324"/>
                    <a:pt x="706" y="324"/>
                  </a:cubicBezTo>
                  <a:cubicBezTo>
                    <a:pt x="798" y="324"/>
                    <a:pt x="886" y="317"/>
                    <a:pt x="968" y="305"/>
                  </a:cubicBezTo>
                  <a:cubicBezTo>
                    <a:pt x="968" y="219"/>
                    <a:pt x="968" y="219"/>
                    <a:pt x="968" y="219"/>
                  </a:cubicBezTo>
                  <a:cubicBezTo>
                    <a:pt x="935" y="229"/>
                    <a:pt x="900" y="158"/>
                    <a:pt x="862" y="164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2359025" y="2044701"/>
              <a:ext cx="304800" cy="2560638"/>
            </a:xfrm>
            <a:custGeom>
              <a:avLst/>
              <a:gdLst>
                <a:gd name="T0" fmla="*/ 7 w 113"/>
                <a:gd name="T1" fmla="*/ 136 h 949"/>
                <a:gd name="T2" fmla="*/ 7 w 113"/>
                <a:gd name="T3" fmla="*/ 101 h 949"/>
                <a:gd name="T4" fmla="*/ 0 w 113"/>
                <a:gd name="T5" fmla="*/ 101 h 949"/>
                <a:gd name="T6" fmla="*/ 0 w 113"/>
                <a:gd name="T7" fmla="*/ 763 h 949"/>
                <a:gd name="T8" fmla="*/ 113 w 113"/>
                <a:gd name="T9" fmla="*/ 949 h 949"/>
                <a:gd name="T10" fmla="*/ 113 w 113"/>
                <a:gd name="T11" fmla="*/ 0 h 949"/>
                <a:gd name="T12" fmla="*/ 7 w 113"/>
                <a:gd name="T13" fmla="*/ 136 h 9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3" h="949">
                  <a:moveTo>
                    <a:pt x="7" y="136"/>
                  </a:moveTo>
                  <a:cubicBezTo>
                    <a:pt x="7" y="101"/>
                    <a:pt x="7" y="101"/>
                    <a:pt x="7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763"/>
                    <a:pt x="0" y="763"/>
                    <a:pt x="0" y="763"/>
                  </a:cubicBezTo>
                  <a:cubicBezTo>
                    <a:pt x="0" y="831"/>
                    <a:pt x="41" y="895"/>
                    <a:pt x="113" y="949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59" y="41"/>
                    <a:pt x="22" y="87"/>
                    <a:pt x="7" y="136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auto">
            <a:xfrm>
              <a:off x="4568825" y="1993901"/>
              <a:ext cx="839788" cy="1655763"/>
            </a:xfrm>
            <a:custGeom>
              <a:avLst/>
              <a:gdLst>
                <a:gd name="T0" fmla="*/ 311 w 311"/>
                <a:gd name="T1" fmla="*/ 614 h 614"/>
                <a:gd name="T2" fmla="*/ 311 w 311"/>
                <a:gd name="T3" fmla="*/ 27 h 614"/>
                <a:gd name="T4" fmla="*/ 0 w 311"/>
                <a:gd name="T5" fmla="*/ 0 h 614"/>
                <a:gd name="T6" fmla="*/ 0 w 311"/>
                <a:gd name="T7" fmla="*/ 563 h 614"/>
                <a:gd name="T8" fmla="*/ 311 w 311"/>
                <a:gd name="T9" fmla="*/ 614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1" h="614">
                  <a:moveTo>
                    <a:pt x="311" y="614"/>
                  </a:moveTo>
                  <a:cubicBezTo>
                    <a:pt x="311" y="27"/>
                    <a:pt x="311" y="27"/>
                    <a:pt x="311" y="27"/>
                  </a:cubicBezTo>
                  <a:cubicBezTo>
                    <a:pt x="215" y="9"/>
                    <a:pt x="110" y="0"/>
                    <a:pt x="0" y="0"/>
                  </a:cubicBezTo>
                  <a:cubicBezTo>
                    <a:pt x="0" y="563"/>
                    <a:pt x="0" y="563"/>
                    <a:pt x="0" y="563"/>
                  </a:cubicBezTo>
                  <a:cubicBezTo>
                    <a:pt x="118" y="563"/>
                    <a:pt x="227" y="582"/>
                    <a:pt x="311" y="61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auto">
            <a:xfrm>
              <a:off x="4568825" y="1747838"/>
              <a:ext cx="1411288" cy="542925"/>
            </a:xfrm>
            <a:custGeom>
              <a:avLst/>
              <a:gdLst>
                <a:gd name="T0" fmla="*/ 311 w 523"/>
                <a:gd name="T1" fmla="*/ 201 h 201"/>
                <a:gd name="T2" fmla="*/ 523 w 523"/>
                <a:gd name="T3" fmla="*/ 84 h 201"/>
                <a:gd name="T4" fmla="*/ 0 w 523"/>
                <a:gd name="T5" fmla="*/ 0 h 201"/>
                <a:gd name="T6" fmla="*/ 0 w 523"/>
                <a:gd name="T7" fmla="*/ 149 h 201"/>
                <a:gd name="T8" fmla="*/ 311 w 523"/>
                <a:gd name="T9" fmla="*/ 201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3" h="201">
                  <a:moveTo>
                    <a:pt x="311" y="201"/>
                  </a:moveTo>
                  <a:cubicBezTo>
                    <a:pt x="523" y="84"/>
                    <a:pt x="523" y="84"/>
                    <a:pt x="523" y="84"/>
                  </a:cubicBezTo>
                  <a:cubicBezTo>
                    <a:pt x="381" y="31"/>
                    <a:pt x="200" y="0"/>
                    <a:pt x="0" y="0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119" y="149"/>
                    <a:pt x="226" y="169"/>
                    <a:pt x="311" y="201"/>
                  </a:cubicBez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auto">
            <a:xfrm>
              <a:off x="4989513" y="2746376"/>
              <a:ext cx="1792288" cy="1697038"/>
            </a:xfrm>
            <a:custGeom>
              <a:avLst/>
              <a:gdLst>
                <a:gd name="T0" fmla="*/ 664 w 664"/>
                <a:gd name="T1" fmla="*/ 281 h 629"/>
                <a:gd name="T2" fmla="*/ 369 w 664"/>
                <a:gd name="T3" fmla="*/ 0 h 629"/>
                <a:gd name="T4" fmla="*/ 155 w 664"/>
                <a:gd name="T5" fmla="*/ 114 h 629"/>
                <a:gd name="T6" fmla="*/ 332 w 664"/>
                <a:gd name="T7" fmla="*/ 281 h 629"/>
                <a:gd name="T8" fmla="*/ 0 w 664"/>
                <a:gd name="T9" fmla="*/ 488 h 629"/>
                <a:gd name="T10" fmla="*/ 106 w 664"/>
                <a:gd name="T11" fmla="*/ 629 h 629"/>
                <a:gd name="T12" fmla="*/ 664 w 664"/>
                <a:gd name="T13" fmla="*/ 281 h 6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4" h="629">
                  <a:moveTo>
                    <a:pt x="664" y="281"/>
                  </a:moveTo>
                  <a:cubicBezTo>
                    <a:pt x="664" y="168"/>
                    <a:pt x="549" y="67"/>
                    <a:pt x="369" y="0"/>
                  </a:cubicBezTo>
                  <a:cubicBezTo>
                    <a:pt x="155" y="114"/>
                    <a:pt x="155" y="114"/>
                    <a:pt x="155" y="114"/>
                  </a:cubicBezTo>
                  <a:cubicBezTo>
                    <a:pt x="262" y="155"/>
                    <a:pt x="332" y="214"/>
                    <a:pt x="332" y="281"/>
                  </a:cubicBezTo>
                  <a:cubicBezTo>
                    <a:pt x="332" y="378"/>
                    <a:pt x="193" y="459"/>
                    <a:pt x="0" y="488"/>
                  </a:cubicBezTo>
                  <a:cubicBezTo>
                    <a:pt x="106" y="629"/>
                    <a:pt x="106" y="629"/>
                    <a:pt x="106" y="629"/>
                  </a:cubicBezTo>
                  <a:cubicBezTo>
                    <a:pt x="430" y="580"/>
                    <a:pt x="664" y="443"/>
                    <a:pt x="664" y="28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" name="Freeform 15"/>
            <p:cNvSpPr>
              <a:spLocks/>
            </p:cNvSpPr>
            <p:nvPr/>
          </p:nvSpPr>
          <p:spPr bwMode="auto">
            <a:xfrm>
              <a:off x="2663825" y="4170363"/>
              <a:ext cx="2613025" cy="693738"/>
            </a:xfrm>
            <a:custGeom>
              <a:avLst/>
              <a:gdLst>
                <a:gd name="T0" fmla="*/ 862 w 968"/>
                <a:gd name="T1" fmla="*/ 97 h 257"/>
                <a:gd name="T2" fmla="*/ 706 w 968"/>
                <a:gd name="T3" fmla="*/ 108 h 257"/>
                <a:gd name="T4" fmla="*/ 695 w 968"/>
                <a:gd name="T5" fmla="*/ 108 h 257"/>
                <a:gd name="T6" fmla="*/ 286 w 968"/>
                <a:gd name="T7" fmla="*/ 0 h 257"/>
                <a:gd name="T8" fmla="*/ 0 w 968"/>
                <a:gd name="T9" fmla="*/ 76 h 257"/>
                <a:gd name="T10" fmla="*/ 687 w 968"/>
                <a:gd name="T11" fmla="*/ 256 h 257"/>
                <a:gd name="T12" fmla="*/ 706 w 968"/>
                <a:gd name="T13" fmla="*/ 257 h 257"/>
                <a:gd name="T14" fmla="*/ 968 w 968"/>
                <a:gd name="T15" fmla="*/ 237 h 257"/>
                <a:gd name="T16" fmla="*/ 862 w 968"/>
                <a:gd name="T17" fmla="*/ 9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8" h="257">
                  <a:moveTo>
                    <a:pt x="862" y="97"/>
                  </a:moveTo>
                  <a:cubicBezTo>
                    <a:pt x="813" y="104"/>
                    <a:pt x="761" y="108"/>
                    <a:pt x="706" y="108"/>
                  </a:cubicBezTo>
                  <a:cubicBezTo>
                    <a:pt x="702" y="108"/>
                    <a:pt x="699" y="108"/>
                    <a:pt x="695" y="108"/>
                  </a:cubicBezTo>
                  <a:cubicBezTo>
                    <a:pt x="521" y="106"/>
                    <a:pt x="369" y="63"/>
                    <a:pt x="286" y="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140" y="182"/>
                    <a:pt x="395" y="253"/>
                    <a:pt x="687" y="256"/>
                  </a:cubicBezTo>
                  <a:cubicBezTo>
                    <a:pt x="694" y="256"/>
                    <a:pt x="700" y="257"/>
                    <a:pt x="706" y="257"/>
                  </a:cubicBezTo>
                  <a:cubicBezTo>
                    <a:pt x="798" y="257"/>
                    <a:pt x="886" y="250"/>
                    <a:pt x="968" y="237"/>
                  </a:cubicBezTo>
                  <a:lnTo>
                    <a:pt x="862" y="97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auto">
            <a:xfrm>
              <a:off x="2359025" y="1338263"/>
              <a:ext cx="2209800" cy="1492250"/>
            </a:xfrm>
            <a:custGeom>
              <a:avLst/>
              <a:gdLst>
                <a:gd name="T0" fmla="*/ 331 w 819"/>
                <a:gd name="T1" fmla="*/ 367 h 553"/>
                <a:gd name="T2" fmla="*/ 819 w 819"/>
                <a:gd name="T3" fmla="*/ 176 h 553"/>
                <a:gd name="T4" fmla="*/ 819 w 819"/>
                <a:gd name="T5" fmla="*/ 149 h 553"/>
                <a:gd name="T6" fmla="*/ 819 w 819"/>
                <a:gd name="T7" fmla="*/ 0 h 553"/>
                <a:gd name="T8" fmla="*/ 819 w 819"/>
                <a:gd name="T9" fmla="*/ 0 h 553"/>
                <a:gd name="T10" fmla="*/ 0 w 819"/>
                <a:gd name="T11" fmla="*/ 367 h 553"/>
                <a:gd name="T12" fmla="*/ 113 w 819"/>
                <a:gd name="T13" fmla="*/ 553 h 553"/>
                <a:gd name="T14" fmla="*/ 399 w 819"/>
                <a:gd name="T15" fmla="*/ 478 h 553"/>
                <a:gd name="T16" fmla="*/ 331 w 819"/>
                <a:gd name="T17" fmla="*/ 367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9" h="553">
                  <a:moveTo>
                    <a:pt x="331" y="367"/>
                  </a:moveTo>
                  <a:cubicBezTo>
                    <a:pt x="331" y="246"/>
                    <a:pt x="550" y="176"/>
                    <a:pt x="819" y="176"/>
                  </a:cubicBezTo>
                  <a:cubicBezTo>
                    <a:pt x="819" y="149"/>
                    <a:pt x="819" y="149"/>
                    <a:pt x="819" y="149"/>
                  </a:cubicBezTo>
                  <a:cubicBezTo>
                    <a:pt x="819" y="0"/>
                    <a:pt x="819" y="0"/>
                    <a:pt x="819" y="0"/>
                  </a:cubicBezTo>
                  <a:cubicBezTo>
                    <a:pt x="819" y="0"/>
                    <a:pt x="819" y="0"/>
                    <a:pt x="819" y="0"/>
                  </a:cubicBezTo>
                  <a:cubicBezTo>
                    <a:pt x="367" y="0"/>
                    <a:pt x="0" y="164"/>
                    <a:pt x="0" y="367"/>
                  </a:cubicBezTo>
                  <a:cubicBezTo>
                    <a:pt x="0" y="435"/>
                    <a:pt x="41" y="499"/>
                    <a:pt x="113" y="553"/>
                  </a:cubicBezTo>
                  <a:cubicBezTo>
                    <a:pt x="399" y="478"/>
                    <a:pt x="399" y="478"/>
                    <a:pt x="399" y="478"/>
                  </a:cubicBezTo>
                  <a:cubicBezTo>
                    <a:pt x="356" y="446"/>
                    <a:pt x="331" y="408"/>
                    <a:pt x="331" y="367"/>
                  </a:cubicBez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accent2">
                    <a:lumMod val="60000"/>
                    <a:lumOff val="40000"/>
                  </a:schemeClr>
                </a:solidFill>
              </a:endParaRPr>
            </a:p>
          </p:txBody>
        </p:sp>
      </p:grpSp>
      <p:sp>
        <p:nvSpPr>
          <p:cNvPr id="20" name="Rectangle 19"/>
          <p:cNvSpPr/>
          <p:nvPr>
            <p:custDataLst>
              <p:tags r:id="rId1"/>
            </p:custDataLst>
          </p:nvPr>
        </p:nvSpPr>
        <p:spPr>
          <a:xfrm>
            <a:off x="2395613" y="4983972"/>
            <a:ext cx="1639815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40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P 1</a:t>
            </a:r>
            <a:endParaRPr lang="en-US" sz="1400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400" dirty="0" err="1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aS</a:t>
            </a:r>
            <a:r>
              <a:rPr lang="en-US" sz="1400" dirty="0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rovider</a:t>
            </a:r>
            <a:endParaRPr lang="en-US" sz="1400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4103298" y="4983972"/>
            <a:ext cx="0" cy="836762"/>
          </a:xfrm>
          <a:prstGeom prst="line">
            <a:avLst/>
          </a:prstGeom>
          <a:ln w="3175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5923255" y="4983972"/>
            <a:ext cx="0" cy="836762"/>
          </a:xfrm>
          <a:prstGeom prst="line">
            <a:avLst/>
          </a:prstGeom>
          <a:ln w="3175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7734802" y="4983972"/>
            <a:ext cx="0" cy="836762"/>
          </a:xfrm>
          <a:prstGeom prst="line">
            <a:avLst/>
          </a:prstGeom>
          <a:ln w="3175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112EC10B-8B21-1D45-89C1-712DF5B2626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59434" y="4983972"/>
            <a:ext cx="1639815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P 2</a:t>
            </a:r>
            <a:endParaRPr lang="en-US" sz="140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400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kenize Non-fungible Real Estate Assets</a:t>
            </a:r>
            <a:endParaRPr lang="en-US" sz="140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6A3E936-4BD7-3E48-916A-97458F6520F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989954" y="5014265"/>
            <a:ext cx="1639815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4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P 3</a:t>
            </a:r>
            <a:endParaRPr lang="en-US" sz="1400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400" dirty="0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see Sales and Transfer of Ownership</a:t>
            </a:r>
            <a:endParaRPr lang="en-US" sz="1400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E497F21-6F63-B149-8C1C-998A4268225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753775" y="5014265"/>
            <a:ext cx="1639815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4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P 4</a:t>
            </a:r>
            <a:endParaRPr lang="en-US" sz="14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400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ale with Front End Interface</a:t>
            </a:r>
            <a:endParaRPr lang="en-US" sz="14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5654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/>
          <p:cNvSpPr/>
          <p:nvPr/>
        </p:nvSpPr>
        <p:spPr>
          <a:xfrm>
            <a:off x="0" y="4683306"/>
            <a:ext cx="12192000" cy="143809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1209890" y="1134220"/>
            <a:ext cx="3775074" cy="3205968"/>
            <a:chOff x="2359025" y="1338263"/>
            <a:chExt cx="4422776" cy="3756026"/>
          </a:xfrm>
        </p:grpSpPr>
        <p:sp>
          <p:nvSpPr>
            <p:cNvPr id="7" name="Freeform 5"/>
            <p:cNvSpPr>
              <a:spLocks/>
            </p:cNvSpPr>
            <p:nvPr/>
          </p:nvSpPr>
          <p:spPr bwMode="auto">
            <a:xfrm>
              <a:off x="5141913" y="1898651"/>
              <a:ext cx="838200" cy="1660525"/>
            </a:xfrm>
            <a:custGeom>
              <a:avLst/>
              <a:gdLst>
                <a:gd name="T0" fmla="*/ 311 w 311"/>
                <a:gd name="T1" fmla="*/ 615 h 615"/>
                <a:gd name="T2" fmla="*/ 311 w 311"/>
                <a:gd name="T3" fmla="*/ 28 h 615"/>
                <a:gd name="T4" fmla="*/ 0 w 311"/>
                <a:gd name="T5" fmla="*/ 0 h 615"/>
                <a:gd name="T6" fmla="*/ 0 w 311"/>
                <a:gd name="T7" fmla="*/ 564 h 615"/>
                <a:gd name="T8" fmla="*/ 311 w 311"/>
                <a:gd name="T9" fmla="*/ 615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1" h="615">
                  <a:moveTo>
                    <a:pt x="311" y="615"/>
                  </a:moveTo>
                  <a:cubicBezTo>
                    <a:pt x="311" y="28"/>
                    <a:pt x="311" y="28"/>
                    <a:pt x="311" y="28"/>
                  </a:cubicBezTo>
                  <a:cubicBezTo>
                    <a:pt x="215" y="10"/>
                    <a:pt x="110" y="0"/>
                    <a:pt x="0" y="0"/>
                  </a:cubicBezTo>
                  <a:cubicBezTo>
                    <a:pt x="0" y="564"/>
                    <a:pt x="0" y="564"/>
                    <a:pt x="0" y="564"/>
                  </a:cubicBezTo>
                  <a:cubicBezTo>
                    <a:pt x="118" y="564"/>
                    <a:pt x="227" y="583"/>
                    <a:pt x="311" y="615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5276850" y="3054351"/>
              <a:ext cx="1504950" cy="1987550"/>
            </a:xfrm>
            <a:custGeom>
              <a:avLst/>
              <a:gdLst>
                <a:gd name="T0" fmla="*/ 550 w 558"/>
                <a:gd name="T1" fmla="*/ 164 h 737"/>
                <a:gd name="T2" fmla="*/ 550 w 558"/>
                <a:gd name="T3" fmla="*/ 199 h 737"/>
                <a:gd name="T4" fmla="*/ 263 w 558"/>
                <a:gd name="T5" fmla="*/ 107 h 737"/>
                <a:gd name="T6" fmla="*/ 49 w 558"/>
                <a:gd name="T7" fmla="*/ 0 h 737"/>
                <a:gd name="T8" fmla="*/ 49 w 558"/>
                <a:gd name="T9" fmla="*/ 221 h 737"/>
                <a:gd name="T10" fmla="*/ 51 w 558"/>
                <a:gd name="T11" fmla="*/ 221 h 737"/>
                <a:gd name="T12" fmla="*/ 226 w 558"/>
                <a:gd name="T13" fmla="*/ 389 h 737"/>
                <a:gd name="T14" fmla="*/ 0 w 558"/>
                <a:gd name="T15" fmla="*/ 511 h 737"/>
                <a:gd name="T16" fmla="*/ 0 w 558"/>
                <a:gd name="T17" fmla="*/ 737 h 737"/>
                <a:gd name="T18" fmla="*/ 558 w 558"/>
                <a:gd name="T19" fmla="*/ 389 h 737"/>
                <a:gd name="T20" fmla="*/ 558 w 558"/>
                <a:gd name="T21" fmla="*/ 164 h 737"/>
                <a:gd name="T22" fmla="*/ 550 w 558"/>
                <a:gd name="T23" fmla="*/ 16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58" h="737">
                  <a:moveTo>
                    <a:pt x="550" y="164"/>
                  </a:moveTo>
                  <a:cubicBezTo>
                    <a:pt x="550" y="199"/>
                    <a:pt x="550" y="199"/>
                    <a:pt x="550" y="199"/>
                  </a:cubicBezTo>
                  <a:cubicBezTo>
                    <a:pt x="522" y="106"/>
                    <a:pt x="416" y="164"/>
                    <a:pt x="263" y="107"/>
                  </a:cubicBezTo>
                  <a:cubicBezTo>
                    <a:pt x="199" y="83"/>
                    <a:pt x="127" y="15"/>
                    <a:pt x="49" y="0"/>
                  </a:cubicBezTo>
                  <a:cubicBezTo>
                    <a:pt x="49" y="221"/>
                    <a:pt x="49" y="221"/>
                    <a:pt x="49" y="221"/>
                  </a:cubicBezTo>
                  <a:cubicBezTo>
                    <a:pt x="50" y="221"/>
                    <a:pt x="50" y="221"/>
                    <a:pt x="51" y="221"/>
                  </a:cubicBezTo>
                  <a:cubicBezTo>
                    <a:pt x="158" y="261"/>
                    <a:pt x="226" y="322"/>
                    <a:pt x="226" y="389"/>
                  </a:cubicBezTo>
                  <a:cubicBezTo>
                    <a:pt x="226" y="466"/>
                    <a:pt x="136" y="472"/>
                    <a:pt x="0" y="511"/>
                  </a:cubicBezTo>
                  <a:cubicBezTo>
                    <a:pt x="0" y="737"/>
                    <a:pt x="0" y="737"/>
                    <a:pt x="0" y="737"/>
                  </a:cubicBezTo>
                  <a:cubicBezTo>
                    <a:pt x="324" y="688"/>
                    <a:pt x="558" y="551"/>
                    <a:pt x="558" y="389"/>
                  </a:cubicBezTo>
                  <a:cubicBezTo>
                    <a:pt x="558" y="164"/>
                    <a:pt x="558" y="164"/>
                    <a:pt x="558" y="164"/>
                  </a:cubicBezTo>
                  <a:lnTo>
                    <a:pt x="550" y="164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4989513" y="4062413"/>
              <a:ext cx="287338" cy="979488"/>
            </a:xfrm>
            <a:custGeom>
              <a:avLst/>
              <a:gdLst>
                <a:gd name="T0" fmla="*/ 0 w 181"/>
                <a:gd name="T1" fmla="*/ 0 h 617"/>
                <a:gd name="T2" fmla="*/ 0 w 181"/>
                <a:gd name="T3" fmla="*/ 356 h 617"/>
                <a:gd name="T4" fmla="*/ 181 w 181"/>
                <a:gd name="T5" fmla="*/ 617 h 617"/>
                <a:gd name="T6" fmla="*/ 181 w 181"/>
                <a:gd name="T7" fmla="*/ 240 h 617"/>
                <a:gd name="T8" fmla="*/ 0 w 181"/>
                <a:gd name="T9" fmla="*/ 0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" h="617">
                  <a:moveTo>
                    <a:pt x="0" y="0"/>
                  </a:moveTo>
                  <a:lnTo>
                    <a:pt x="0" y="356"/>
                  </a:lnTo>
                  <a:lnTo>
                    <a:pt x="181" y="617"/>
                  </a:lnTo>
                  <a:lnTo>
                    <a:pt x="181" y="24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2663825" y="1462088"/>
              <a:ext cx="1905000" cy="2652713"/>
            </a:xfrm>
            <a:custGeom>
              <a:avLst/>
              <a:gdLst>
                <a:gd name="T0" fmla="*/ 706 w 706"/>
                <a:gd name="T1" fmla="*/ 760 h 983"/>
                <a:gd name="T2" fmla="*/ 706 w 706"/>
                <a:gd name="T3" fmla="*/ 0 h 983"/>
                <a:gd name="T4" fmla="*/ 0 w 706"/>
                <a:gd name="T5" fmla="*/ 180 h 983"/>
                <a:gd name="T6" fmla="*/ 0 w 706"/>
                <a:gd name="T7" fmla="*/ 983 h 983"/>
                <a:gd name="T8" fmla="*/ 219 w 706"/>
                <a:gd name="T9" fmla="*/ 983 h 983"/>
                <a:gd name="T10" fmla="*/ 218 w 706"/>
                <a:gd name="T11" fmla="*/ 979 h 983"/>
                <a:gd name="T12" fmla="*/ 706 w 706"/>
                <a:gd name="T13" fmla="*/ 760 h 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6" h="983">
                  <a:moveTo>
                    <a:pt x="706" y="760"/>
                  </a:moveTo>
                  <a:cubicBezTo>
                    <a:pt x="706" y="0"/>
                    <a:pt x="706" y="0"/>
                    <a:pt x="706" y="0"/>
                  </a:cubicBezTo>
                  <a:cubicBezTo>
                    <a:pt x="405" y="0"/>
                    <a:pt x="143" y="72"/>
                    <a:pt x="0" y="180"/>
                  </a:cubicBezTo>
                  <a:cubicBezTo>
                    <a:pt x="0" y="983"/>
                    <a:pt x="0" y="983"/>
                    <a:pt x="0" y="983"/>
                  </a:cubicBezTo>
                  <a:cubicBezTo>
                    <a:pt x="219" y="983"/>
                    <a:pt x="219" y="983"/>
                    <a:pt x="219" y="983"/>
                  </a:cubicBezTo>
                  <a:cubicBezTo>
                    <a:pt x="219" y="982"/>
                    <a:pt x="218" y="980"/>
                    <a:pt x="218" y="979"/>
                  </a:cubicBezTo>
                  <a:cubicBezTo>
                    <a:pt x="218" y="858"/>
                    <a:pt x="437" y="760"/>
                    <a:pt x="706" y="760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auto">
            <a:xfrm>
              <a:off x="2663825" y="2627313"/>
              <a:ext cx="771525" cy="1978025"/>
            </a:xfrm>
            <a:custGeom>
              <a:avLst/>
              <a:gdLst>
                <a:gd name="T0" fmla="*/ 486 w 486"/>
                <a:gd name="T1" fmla="*/ 0 h 1246"/>
                <a:gd name="T2" fmla="*/ 486 w 486"/>
                <a:gd name="T3" fmla="*/ 1011 h 1246"/>
                <a:gd name="T4" fmla="*/ 0 w 486"/>
                <a:gd name="T5" fmla="*/ 1246 h 1246"/>
                <a:gd name="T6" fmla="*/ 0 w 486"/>
                <a:gd name="T7" fmla="*/ 116 h 1246"/>
                <a:gd name="T8" fmla="*/ 486 w 486"/>
                <a:gd name="T9" fmla="*/ 0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6" h="1246">
                  <a:moveTo>
                    <a:pt x="486" y="0"/>
                  </a:moveTo>
                  <a:lnTo>
                    <a:pt x="486" y="1011"/>
                  </a:lnTo>
                  <a:lnTo>
                    <a:pt x="0" y="1246"/>
                  </a:lnTo>
                  <a:lnTo>
                    <a:pt x="0" y="116"/>
                  </a:lnTo>
                  <a:lnTo>
                    <a:pt x="486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2663825" y="4219576"/>
              <a:ext cx="2613025" cy="874713"/>
            </a:xfrm>
            <a:custGeom>
              <a:avLst/>
              <a:gdLst>
                <a:gd name="T0" fmla="*/ 862 w 968"/>
                <a:gd name="T1" fmla="*/ 164 h 324"/>
                <a:gd name="T2" fmla="*/ 706 w 968"/>
                <a:gd name="T3" fmla="*/ 175 h 324"/>
                <a:gd name="T4" fmla="*/ 695 w 968"/>
                <a:gd name="T5" fmla="*/ 175 h 324"/>
                <a:gd name="T6" fmla="*/ 687 w 968"/>
                <a:gd name="T7" fmla="*/ 175 h 324"/>
                <a:gd name="T8" fmla="*/ 286 w 968"/>
                <a:gd name="T9" fmla="*/ 68 h 324"/>
                <a:gd name="T10" fmla="*/ 219 w 968"/>
                <a:gd name="T11" fmla="*/ 0 h 324"/>
                <a:gd name="T12" fmla="*/ 0 w 968"/>
                <a:gd name="T13" fmla="*/ 58 h 324"/>
                <a:gd name="T14" fmla="*/ 0 w 968"/>
                <a:gd name="T15" fmla="*/ 143 h 324"/>
                <a:gd name="T16" fmla="*/ 687 w 968"/>
                <a:gd name="T17" fmla="*/ 324 h 324"/>
                <a:gd name="T18" fmla="*/ 706 w 968"/>
                <a:gd name="T19" fmla="*/ 324 h 324"/>
                <a:gd name="T20" fmla="*/ 968 w 968"/>
                <a:gd name="T21" fmla="*/ 305 h 324"/>
                <a:gd name="T22" fmla="*/ 968 w 968"/>
                <a:gd name="T23" fmla="*/ 219 h 324"/>
                <a:gd name="T24" fmla="*/ 862 w 968"/>
                <a:gd name="T25" fmla="*/ 164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8" h="324">
                  <a:moveTo>
                    <a:pt x="862" y="164"/>
                  </a:moveTo>
                  <a:cubicBezTo>
                    <a:pt x="813" y="171"/>
                    <a:pt x="761" y="175"/>
                    <a:pt x="706" y="175"/>
                  </a:cubicBezTo>
                  <a:cubicBezTo>
                    <a:pt x="702" y="175"/>
                    <a:pt x="699" y="175"/>
                    <a:pt x="695" y="175"/>
                  </a:cubicBezTo>
                  <a:cubicBezTo>
                    <a:pt x="692" y="175"/>
                    <a:pt x="690" y="175"/>
                    <a:pt x="687" y="175"/>
                  </a:cubicBezTo>
                  <a:cubicBezTo>
                    <a:pt x="516" y="172"/>
                    <a:pt x="368" y="130"/>
                    <a:pt x="286" y="68"/>
                  </a:cubicBezTo>
                  <a:cubicBezTo>
                    <a:pt x="245" y="36"/>
                    <a:pt x="221" y="39"/>
                    <a:pt x="219" y="0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140" y="249"/>
                    <a:pt x="395" y="321"/>
                    <a:pt x="687" y="324"/>
                  </a:cubicBezTo>
                  <a:cubicBezTo>
                    <a:pt x="694" y="324"/>
                    <a:pt x="700" y="324"/>
                    <a:pt x="706" y="324"/>
                  </a:cubicBezTo>
                  <a:cubicBezTo>
                    <a:pt x="798" y="324"/>
                    <a:pt x="886" y="317"/>
                    <a:pt x="968" y="305"/>
                  </a:cubicBezTo>
                  <a:cubicBezTo>
                    <a:pt x="968" y="219"/>
                    <a:pt x="968" y="219"/>
                    <a:pt x="968" y="219"/>
                  </a:cubicBezTo>
                  <a:cubicBezTo>
                    <a:pt x="935" y="229"/>
                    <a:pt x="900" y="158"/>
                    <a:pt x="862" y="164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2359025" y="2044701"/>
              <a:ext cx="304800" cy="2560638"/>
            </a:xfrm>
            <a:custGeom>
              <a:avLst/>
              <a:gdLst>
                <a:gd name="T0" fmla="*/ 7 w 113"/>
                <a:gd name="T1" fmla="*/ 136 h 949"/>
                <a:gd name="T2" fmla="*/ 7 w 113"/>
                <a:gd name="T3" fmla="*/ 101 h 949"/>
                <a:gd name="T4" fmla="*/ 0 w 113"/>
                <a:gd name="T5" fmla="*/ 101 h 949"/>
                <a:gd name="T6" fmla="*/ 0 w 113"/>
                <a:gd name="T7" fmla="*/ 763 h 949"/>
                <a:gd name="T8" fmla="*/ 113 w 113"/>
                <a:gd name="T9" fmla="*/ 949 h 949"/>
                <a:gd name="T10" fmla="*/ 113 w 113"/>
                <a:gd name="T11" fmla="*/ 0 h 949"/>
                <a:gd name="T12" fmla="*/ 7 w 113"/>
                <a:gd name="T13" fmla="*/ 136 h 9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3" h="949">
                  <a:moveTo>
                    <a:pt x="7" y="136"/>
                  </a:moveTo>
                  <a:cubicBezTo>
                    <a:pt x="7" y="101"/>
                    <a:pt x="7" y="101"/>
                    <a:pt x="7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763"/>
                    <a:pt x="0" y="763"/>
                    <a:pt x="0" y="763"/>
                  </a:cubicBezTo>
                  <a:cubicBezTo>
                    <a:pt x="0" y="831"/>
                    <a:pt x="41" y="895"/>
                    <a:pt x="113" y="949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59" y="41"/>
                    <a:pt x="22" y="87"/>
                    <a:pt x="7" y="136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auto">
            <a:xfrm>
              <a:off x="4568825" y="1993901"/>
              <a:ext cx="839788" cy="1655763"/>
            </a:xfrm>
            <a:custGeom>
              <a:avLst/>
              <a:gdLst>
                <a:gd name="T0" fmla="*/ 311 w 311"/>
                <a:gd name="T1" fmla="*/ 614 h 614"/>
                <a:gd name="T2" fmla="*/ 311 w 311"/>
                <a:gd name="T3" fmla="*/ 27 h 614"/>
                <a:gd name="T4" fmla="*/ 0 w 311"/>
                <a:gd name="T5" fmla="*/ 0 h 614"/>
                <a:gd name="T6" fmla="*/ 0 w 311"/>
                <a:gd name="T7" fmla="*/ 563 h 614"/>
                <a:gd name="T8" fmla="*/ 311 w 311"/>
                <a:gd name="T9" fmla="*/ 614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1" h="614">
                  <a:moveTo>
                    <a:pt x="311" y="614"/>
                  </a:moveTo>
                  <a:cubicBezTo>
                    <a:pt x="311" y="27"/>
                    <a:pt x="311" y="27"/>
                    <a:pt x="311" y="27"/>
                  </a:cubicBezTo>
                  <a:cubicBezTo>
                    <a:pt x="215" y="9"/>
                    <a:pt x="110" y="0"/>
                    <a:pt x="0" y="0"/>
                  </a:cubicBezTo>
                  <a:cubicBezTo>
                    <a:pt x="0" y="563"/>
                    <a:pt x="0" y="563"/>
                    <a:pt x="0" y="563"/>
                  </a:cubicBezTo>
                  <a:cubicBezTo>
                    <a:pt x="118" y="563"/>
                    <a:pt x="227" y="582"/>
                    <a:pt x="311" y="614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auto">
            <a:xfrm>
              <a:off x="4568825" y="1747838"/>
              <a:ext cx="1411288" cy="542925"/>
            </a:xfrm>
            <a:custGeom>
              <a:avLst/>
              <a:gdLst>
                <a:gd name="T0" fmla="*/ 311 w 523"/>
                <a:gd name="T1" fmla="*/ 201 h 201"/>
                <a:gd name="T2" fmla="*/ 523 w 523"/>
                <a:gd name="T3" fmla="*/ 84 h 201"/>
                <a:gd name="T4" fmla="*/ 0 w 523"/>
                <a:gd name="T5" fmla="*/ 0 h 201"/>
                <a:gd name="T6" fmla="*/ 0 w 523"/>
                <a:gd name="T7" fmla="*/ 149 h 201"/>
                <a:gd name="T8" fmla="*/ 311 w 523"/>
                <a:gd name="T9" fmla="*/ 201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3" h="201">
                  <a:moveTo>
                    <a:pt x="311" y="201"/>
                  </a:moveTo>
                  <a:cubicBezTo>
                    <a:pt x="523" y="84"/>
                    <a:pt x="523" y="84"/>
                    <a:pt x="523" y="84"/>
                  </a:cubicBezTo>
                  <a:cubicBezTo>
                    <a:pt x="381" y="31"/>
                    <a:pt x="200" y="0"/>
                    <a:pt x="0" y="0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119" y="149"/>
                    <a:pt x="226" y="169"/>
                    <a:pt x="311" y="201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auto">
            <a:xfrm>
              <a:off x="4989513" y="2746376"/>
              <a:ext cx="1792288" cy="1697038"/>
            </a:xfrm>
            <a:custGeom>
              <a:avLst/>
              <a:gdLst>
                <a:gd name="T0" fmla="*/ 664 w 664"/>
                <a:gd name="T1" fmla="*/ 281 h 629"/>
                <a:gd name="T2" fmla="*/ 369 w 664"/>
                <a:gd name="T3" fmla="*/ 0 h 629"/>
                <a:gd name="T4" fmla="*/ 155 w 664"/>
                <a:gd name="T5" fmla="*/ 114 h 629"/>
                <a:gd name="T6" fmla="*/ 332 w 664"/>
                <a:gd name="T7" fmla="*/ 281 h 629"/>
                <a:gd name="T8" fmla="*/ 0 w 664"/>
                <a:gd name="T9" fmla="*/ 488 h 629"/>
                <a:gd name="T10" fmla="*/ 106 w 664"/>
                <a:gd name="T11" fmla="*/ 629 h 629"/>
                <a:gd name="T12" fmla="*/ 664 w 664"/>
                <a:gd name="T13" fmla="*/ 281 h 6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4" h="629">
                  <a:moveTo>
                    <a:pt x="664" y="281"/>
                  </a:moveTo>
                  <a:cubicBezTo>
                    <a:pt x="664" y="168"/>
                    <a:pt x="549" y="67"/>
                    <a:pt x="369" y="0"/>
                  </a:cubicBezTo>
                  <a:cubicBezTo>
                    <a:pt x="155" y="114"/>
                    <a:pt x="155" y="114"/>
                    <a:pt x="155" y="114"/>
                  </a:cubicBezTo>
                  <a:cubicBezTo>
                    <a:pt x="262" y="155"/>
                    <a:pt x="332" y="214"/>
                    <a:pt x="332" y="281"/>
                  </a:cubicBezTo>
                  <a:cubicBezTo>
                    <a:pt x="332" y="378"/>
                    <a:pt x="193" y="459"/>
                    <a:pt x="0" y="488"/>
                  </a:cubicBezTo>
                  <a:cubicBezTo>
                    <a:pt x="106" y="629"/>
                    <a:pt x="106" y="629"/>
                    <a:pt x="106" y="629"/>
                  </a:cubicBezTo>
                  <a:cubicBezTo>
                    <a:pt x="430" y="580"/>
                    <a:pt x="664" y="443"/>
                    <a:pt x="664" y="281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" name="Freeform 15"/>
            <p:cNvSpPr>
              <a:spLocks/>
            </p:cNvSpPr>
            <p:nvPr/>
          </p:nvSpPr>
          <p:spPr bwMode="auto">
            <a:xfrm>
              <a:off x="2663825" y="4170363"/>
              <a:ext cx="2613025" cy="693738"/>
            </a:xfrm>
            <a:custGeom>
              <a:avLst/>
              <a:gdLst>
                <a:gd name="T0" fmla="*/ 862 w 968"/>
                <a:gd name="T1" fmla="*/ 97 h 257"/>
                <a:gd name="T2" fmla="*/ 706 w 968"/>
                <a:gd name="T3" fmla="*/ 108 h 257"/>
                <a:gd name="T4" fmla="*/ 695 w 968"/>
                <a:gd name="T5" fmla="*/ 108 h 257"/>
                <a:gd name="T6" fmla="*/ 286 w 968"/>
                <a:gd name="T7" fmla="*/ 0 h 257"/>
                <a:gd name="T8" fmla="*/ 0 w 968"/>
                <a:gd name="T9" fmla="*/ 76 h 257"/>
                <a:gd name="T10" fmla="*/ 687 w 968"/>
                <a:gd name="T11" fmla="*/ 256 h 257"/>
                <a:gd name="T12" fmla="*/ 706 w 968"/>
                <a:gd name="T13" fmla="*/ 257 h 257"/>
                <a:gd name="T14" fmla="*/ 968 w 968"/>
                <a:gd name="T15" fmla="*/ 237 h 257"/>
                <a:gd name="T16" fmla="*/ 862 w 968"/>
                <a:gd name="T17" fmla="*/ 9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8" h="257">
                  <a:moveTo>
                    <a:pt x="862" y="97"/>
                  </a:moveTo>
                  <a:cubicBezTo>
                    <a:pt x="813" y="104"/>
                    <a:pt x="761" y="108"/>
                    <a:pt x="706" y="108"/>
                  </a:cubicBezTo>
                  <a:cubicBezTo>
                    <a:pt x="702" y="108"/>
                    <a:pt x="699" y="108"/>
                    <a:pt x="695" y="108"/>
                  </a:cubicBezTo>
                  <a:cubicBezTo>
                    <a:pt x="521" y="106"/>
                    <a:pt x="369" y="63"/>
                    <a:pt x="286" y="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140" y="182"/>
                    <a:pt x="395" y="253"/>
                    <a:pt x="687" y="256"/>
                  </a:cubicBezTo>
                  <a:cubicBezTo>
                    <a:pt x="694" y="256"/>
                    <a:pt x="700" y="257"/>
                    <a:pt x="706" y="257"/>
                  </a:cubicBezTo>
                  <a:cubicBezTo>
                    <a:pt x="798" y="257"/>
                    <a:pt x="886" y="250"/>
                    <a:pt x="968" y="237"/>
                  </a:cubicBezTo>
                  <a:lnTo>
                    <a:pt x="862" y="97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auto">
            <a:xfrm>
              <a:off x="2359025" y="1338263"/>
              <a:ext cx="2209800" cy="1492250"/>
            </a:xfrm>
            <a:custGeom>
              <a:avLst/>
              <a:gdLst>
                <a:gd name="T0" fmla="*/ 331 w 819"/>
                <a:gd name="T1" fmla="*/ 367 h 553"/>
                <a:gd name="T2" fmla="*/ 819 w 819"/>
                <a:gd name="T3" fmla="*/ 176 h 553"/>
                <a:gd name="T4" fmla="*/ 819 w 819"/>
                <a:gd name="T5" fmla="*/ 149 h 553"/>
                <a:gd name="T6" fmla="*/ 819 w 819"/>
                <a:gd name="T7" fmla="*/ 0 h 553"/>
                <a:gd name="T8" fmla="*/ 819 w 819"/>
                <a:gd name="T9" fmla="*/ 0 h 553"/>
                <a:gd name="T10" fmla="*/ 0 w 819"/>
                <a:gd name="T11" fmla="*/ 367 h 553"/>
                <a:gd name="T12" fmla="*/ 113 w 819"/>
                <a:gd name="T13" fmla="*/ 553 h 553"/>
                <a:gd name="T14" fmla="*/ 399 w 819"/>
                <a:gd name="T15" fmla="*/ 478 h 553"/>
                <a:gd name="T16" fmla="*/ 331 w 819"/>
                <a:gd name="T17" fmla="*/ 367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9" h="553">
                  <a:moveTo>
                    <a:pt x="331" y="367"/>
                  </a:moveTo>
                  <a:cubicBezTo>
                    <a:pt x="331" y="246"/>
                    <a:pt x="550" y="176"/>
                    <a:pt x="819" y="176"/>
                  </a:cubicBezTo>
                  <a:cubicBezTo>
                    <a:pt x="819" y="149"/>
                    <a:pt x="819" y="149"/>
                    <a:pt x="819" y="149"/>
                  </a:cubicBezTo>
                  <a:cubicBezTo>
                    <a:pt x="819" y="0"/>
                    <a:pt x="819" y="0"/>
                    <a:pt x="819" y="0"/>
                  </a:cubicBezTo>
                  <a:cubicBezTo>
                    <a:pt x="819" y="0"/>
                    <a:pt x="819" y="0"/>
                    <a:pt x="819" y="0"/>
                  </a:cubicBezTo>
                  <a:cubicBezTo>
                    <a:pt x="367" y="0"/>
                    <a:pt x="0" y="164"/>
                    <a:pt x="0" y="367"/>
                  </a:cubicBezTo>
                  <a:cubicBezTo>
                    <a:pt x="0" y="435"/>
                    <a:pt x="41" y="499"/>
                    <a:pt x="113" y="553"/>
                  </a:cubicBezTo>
                  <a:cubicBezTo>
                    <a:pt x="399" y="478"/>
                    <a:pt x="399" y="478"/>
                    <a:pt x="399" y="478"/>
                  </a:cubicBezTo>
                  <a:cubicBezTo>
                    <a:pt x="356" y="446"/>
                    <a:pt x="331" y="408"/>
                    <a:pt x="331" y="367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accent2">
                    <a:lumMod val="60000"/>
                    <a:lumOff val="40000"/>
                  </a:schemeClr>
                </a:solidFill>
              </a:endParaRPr>
            </a:p>
          </p:txBody>
        </p:sp>
      </p:grpSp>
      <p:sp>
        <p:nvSpPr>
          <p:cNvPr id="20" name="Rectangle 19"/>
          <p:cNvSpPr/>
          <p:nvPr>
            <p:custDataLst>
              <p:tags r:id="rId1"/>
            </p:custDataLst>
          </p:nvPr>
        </p:nvSpPr>
        <p:spPr>
          <a:xfrm>
            <a:off x="2395613" y="4983972"/>
            <a:ext cx="1639815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40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P 1</a:t>
            </a:r>
            <a:endParaRPr lang="en-US" sz="1400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400" dirty="0" err="1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aS</a:t>
            </a:r>
            <a:r>
              <a:rPr lang="en-US" sz="1400" dirty="0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rovider</a:t>
            </a:r>
            <a:endParaRPr lang="en-US" sz="1400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4103298" y="4983972"/>
            <a:ext cx="0" cy="836762"/>
          </a:xfrm>
          <a:prstGeom prst="line">
            <a:avLst/>
          </a:prstGeom>
          <a:ln w="3175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5923255" y="4983972"/>
            <a:ext cx="0" cy="836762"/>
          </a:xfrm>
          <a:prstGeom prst="line">
            <a:avLst/>
          </a:prstGeom>
          <a:ln w="3175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7734802" y="4983972"/>
            <a:ext cx="0" cy="836762"/>
          </a:xfrm>
          <a:prstGeom prst="line">
            <a:avLst/>
          </a:prstGeom>
          <a:ln w="3175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112EC10B-8B21-1D45-89C1-712DF5B2626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59434" y="4983972"/>
            <a:ext cx="1639815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P 2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kenize Non-fungible Real Estate Assets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6A3E936-4BD7-3E48-916A-97458F6520F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989954" y="5014265"/>
            <a:ext cx="1639815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P 3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see Sales and Transfer of Ownership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E497F21-6F63-B149-8C1C-998A4268225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753775" y="5014265"/>
            <a:ext cx="1639815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P 4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ale with Front End Interface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717059" y="757881"/>
            <a:ext cx="510746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Act as middlemen for customers daunted by </a:t>
            </a:r>
            <a:r>
              <a:rPr lang="en-US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blockchain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technology to help them reap the benefits without needing to understand the intricacies of the field.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759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/>
          <p:cNvSpPr/>
          <p:nvPr/>
        </p:nvSpPr>
        <p:spPr>
          <a:xfrm>
            <a:off x="0" y="4683306"/>
            <a:ext cx="12192000" cy="143809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1209890" y="1134220"/>
            <a:ext cx="3775074" cy="3205968"/>
            <a:chOff x="2359025" y="1338263"/>
            <a:chExt cx="4422776" cy="3756026"/>
          </a:xfrm>
        </p:grpSpPr>
        <p:sp>
          <p:nvSpPr>
            <p:cNvPr id="7" name="Freeform 5"/>
            <p:cNvSpPr>
              <a:spLocks/>
            </p:cNvSpPr>
            <p:nvPr/>
          </p:nvSpPr>
          <p:spPr bwMode="auto">
            <a:xfrm>
              <a:off x="5141913" y="1898651"/>
              <a:ext cx="838200" cy="1660525"/>
            </a:xfrm>
            <a:custGeom>
              <a:avLst/>
              <a:gdLst>
                <a:gd name="T0" fmla="*/ 311 w 311"/>
                <a:gd name="T1" fmla="*/ 615 h 615"/>
                <a:gd name="T2" fmla="*/ 311 w 311"/>
                <a:gd name="T3" fmla="*/ 28 h 615"/>
                <a:gd name="T4" fmla="*/ 0 w 311"/>
                <a:gd name="T5" fmla="*/ 0 h 615"/>
                <a:gd name="T6" fmla="*/ 0 w 311"/>
                <a:gd name="T7" fmla="*/ 564 h 615"/>
                <a:gd name="T8" fmla="*/ 311 w 311"/>
                <a:gd name="T9" fmla="*/ 615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1" h="615">
                  <a:moveTo>
                    <a:pt x="311" y="615"/>
                  </a:moveTo>
                  <a:cubicBezTo>
                    <a:pt x="311" y="28"/>
                    <a:pt x="311" y="28"/>
                    <a:pt x="311" y="28"/>
                  </a:cubicBezTo>
                  <a:cubicBezTo>
                    <a:pt x="215" y="10"/>
                    <a:pt x="110" y="0"/>
                    <a:pt x="0" y="0"/>
                  </a:cubicBezTo>
                  <a:cubicBezTo>
                    <a:pt x="0" y="564"/>
                    <a:pt x="0" y="564"/>
                    <a:pt x="0" y="564"/>
                  </a:cubicBezTo>
                  <a:cubicBezTo>
                    <a:pt x="118" y="564"/>
                    <a:pt x="227" y="583"/>
                    <a:pt x="311" y="615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5276850" y="3054351"/>
              <a:ext cx="1504950" cy="1987550"/>
            </a:xfrm>
            <a:custGeom>
              <a:avLst/>
              <a:gdLst>
                <a:gd name="T0" fmla="*/ 550 w 558"/>
                <a:gd name="T1" fmla="*/ 164 h 737"/>
                <a:gd name="T2" fmla="*/ 550 w 558"/>
                <a:gd name="T3" fmla="*/ 199 h 737"/>
                <a:gd name="T4" fmla="*/ 263 w 558"/>
                <a:gd name="T5" fmla="*/ 107 h 737"/>
                <a:gd name="T6" fmla="*/ 49 w 558"/>
                <a:gd name="T7" fmla="*/ 0 h 737"/>
                <a:gd name="T8" fmla="*/ 49 w 558"/>
                <a:gd name="T9" fmla="*/ 221 h 737"/>
                <a:gd name="T10" fmla="*/ 51 w 558"/>
                <a:gd name="T11" fmla="*/ 221 h 737"/>
                <a:gd name="T12" fmla="*/ 226 w 558"/>
                <a:gd name="T13" fmla="*/ 389 h 737"/>
                <a:gd name="T14" fmla="*/ 0 w 558"/>
                <a:gd name="T15" fmla="*/ 511 h 737"/>
                <a:gd name="T16" fmla="*/ 0 w 558"/>
                <a:gd name="T17" fmla="*/ 737 h 737"/>
                <a:gd name="T18" fmla="*/ 558 w 558"/>
                <a:gd name="T19" fmla="*/ 389 h 737"/>
                <a:gd name="T20" fmla="*/ 558 w 558"/>
                <a:gd name="T21" fmla="*/ 164 h 737"/>
                <a:gd name="T22" fmla="*/ 550 w 558"/>
                <a:gd name="T23" fmla="*/ 16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58" h="737">
                  <a:moveTo>
                    <a:pt x="550" y="164"/>
                  </a:moveTo>
                  <a:cubicBezTo>
                    <a:pt x="550" y="199"/>
                    <a:pt x="550" y="199"/>
                    <a:pt x="550" y="199"/>
                  </a:cubicBezTo>
                  <a:cubicBezTo>
                    <a:pt x="522" y="106"/>
                    <a:pt x="416" y="164"/>
                    <a:pt x="263" y="107"/>
                  </a:cubicBezTo>
                  <a:cubicBezTo>
                    <a:pt x="199" y="83"/>
                    <a:pt x="127" y="15"/>
                    <a:pt x="49" y="0"/>
                  </a:cubicBezTo>
                  <a:cubicBezTo>
                    <a:pt x="49" y="221"/>
                    <a:pt x="49" y="221"/>
                    <a:pt x="49" y="221"/>
                  </a:cubicBezTo>
                  <a:cubicBezTo>
                    <a:pt x="50" y="221"/>
                    <a:pt x="50" y="221"/>
                    <a:pt x="51" y="221"/>
                  </a:cubicBezTo>
                  <a:cubicBezTo>
                    <a:pt x="158" y="261"/>
                    <a:pt x="226" y="322"/>
                    <a:pt x="226" y="389"/>
                  </a:cubicBezTo>
                  <a:cubicBezTo>
                    <a:pt x="226" y="466"/>
                    <a:pt x="136" y="472"/>
                    <a:pt x="0" y="511"/>
                  </a:cubicBezTo>
                  <a:cubicBezTo>
                    <a:pt x="0" y="737"/>
                    <a:pt x="0" y="737"/>
                    <a:pt x="0" y="737"/>
                  </a:cubicBezTo>
                  <a:cubicBezTo>
                    <a:pt x="324" y="688"/>
                    <a:pt x="558" y="551"/>
                    <a:pt x="558" y="389"/>
                  </a:cubicBezTo>
                  <a:cubicBezTo>
                    <a:pt x="558" y="164"/>
                    <a:pt x="558" y="164"/>
                    <a:pt x="558" y="164"/>
                  </a:cubicBezTo>
                  <a:lnTo>
                    <a:pt x="550" y="164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4989513" y="4062413"/>
              <a:ext cx="287338" cy="979488"/>
            </a:xfrm>
            <a:custGeom>
              <a:avLst/>
              <a:gdLst>
                <a:gd name="T0" fmla="*/ 0 w 181"/>
                <a:gd name="T1" fmla="*/ 0 h 617"/>
                <a:gd name="T2" fmla="*/ 0 w 181"/>
                <a:gd name="T3" fmla="*/ 356 h 617"/>
                <a:gd name="T4" fmla="*/ 181 w 181"/>
                <a:gd name="T5" fmla="*/ 617 h 617"/>
                <a:gd name="T6" fmla="*/ 181 w 181"/>
                <a:gd name="T7" fmla="*/ 240 h 617"/>
                <a:gd name="T8" fmla="*/ 0 w 181"/>
                <a:gd name="T9" fmla="*/ 0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" h="617">
                  <a:moveTo>
                    <a:pt x="0" y="0"/>
                  </a:moveTo>
                  <a:lnTo>
                    <a:pt x="0" y="356"/>
                  </a:lnTo>
                  <a:lnTo>
                    <a:pt x="181" y="617"/>
                  </a:lnTo>
                  <a:lnTo>
                    <a:pt x="181" y="24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2663825" y="1462088"/>
              <a:ext cx="1905000" cy="2652713"/>
            </a:xfrm>
            <a:custGeom>
              <a:avLst/>
              <a:gdLst>
                <a:gd name="T0" fmla="*/ 706 w 706"/>
                <a:gd name="T1" fmla="*/ 760 h 983"/>
                <a:gd name="T2" fmla="*/ 706 w 706"/>
                <a:gd name="T3" fmla="*/ 0 h 983"/>
                <a:gd name="T4" fmla="*/ 0 w 706"/>
                <a:gd name="T5" fmla="*/ 180 h 983"/>
                <a:gd name="T6" fmla="*/ 0 w 706"/>
                <a:gd name="T7" fmla="*/ 983 h 983"/>
                <a:gd name="T8" fmla="*/ 219 w 706"/>
                <a:gd name="T9" fmla="*/ 983 h 983"/>
                <a:gd name="T10" fmla="*/ 218 w 706"/>
                <a:gd name="T11" fmla="*/ 979 h 983"/>
                <a:gd name="T12" fmla="*/ 706 w 706"/>
                <a:gd name="T13" fmla="*/ 760 h 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6" h="983">
                  <a:moveTo>
                    <a:pt x="706" y="760"/>
                  </a:moveTo>
                  <a:cubicBezTo>
                    <a:pt x="706" y="0"/>
                    <a:pt x="706" y="0"/>
                    <a:pt x="706" y="0"/>
                  </a:cubicBezTo>
                  <a:cubicBezTo>
                    <a:pt x="405" y="0"/>
                    <a:pt x="143" y="72"/>
                    <a:pt x="0" y="180"/>
                  </a:cubicBezTo>
                  <a:cubicBezTo>
                    <a:pt x="0" y="983"/>
                    <a:pt x="0" y="983"/>
                    <a:pt x="0" y="983"/>
                  </a:cubicBezTo>
                  <a:cubicBezTo>
                    <a:pt x="219" y="983"/>
                    <a:pt x="219" y="983"/>
                    <a:pt x="219" y="983"/>
                  </a:cubicBezTo>
                  <a:cubicBezTo>
                    <a:pt x="219" y="982"/>
                    <a:pt x="218" y="980"/>
                    <a:pt x="218" y="979"/>
                  </a:cubicBezTo>
                  <a:cubicBezTo>
                    <a:pt x="218" y="858"/>
                    <a:pt x="437" y="760"/>
                    <a:pt x="706" y="760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auto">
            <a:xfrm>
              <a:off x="2663825" y="2627313"/>
              <a:ext cx="771525" cy="1978025"/>
            </a:xfrm>
            <a:custGeom>
              <a:avLst/>
              <a:gdLst>
                <a:gd name="T0" fmla="*/ 486 w 486"/>
                <a:gd name="T1" fmla="*/ 0 h 1246"/>
                <a:gd name="T2" fmla="*/ 486 w 486"/>
                <a:gd name="T3" fmla="*/ 1011 h 1246"/>
                <a:gd name="T4" fmla="*/ 0 w 486"/>
                <a:gd name="T5" fmla="*/ 1246 h 1246"/>
                <a:gd name="T6" fmla="*/ 0 w 486"/>
                <a:gd name="T7" fmla="*/ 116 h 1246"/>
                <a:gd name="T8" fmla="*/ 486 w 486"/>
                <a:gd name="T9" fmla="*/ 0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6" h="1246">
                  <a:moveTo>
                    <a:pt x="486" y="0"/>
                  </a:moveTo>
                  <a:lnTo>
                    <a:pt x="486" y="1011"/>
                  </a:lnTo>
                  <a:lnTo>
                    <a:pt x="0" y="1246"/>
                  </a:lnTo>
                  <a:lnTo>
                    <a:pt x="0" y="116"/>
                  </a:lnTo>
                  <a:lnTo>
                    <a:pt x="486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2663825" y="4219576"/>
              <a:ext cx="2613025" cy="874713"/>
            </a:xfrm>
            <a:custGeom>
              <a:avLst/>
              <a:gdLst>
                <a:gd name="T0" fmla="*/ 862 w 968"/>
                <a:gd name="T1" fmla="*/ 164 h 324"/>
                <a:gd name="T2" fmla="*/ 706 w 968"/>
                <a:gd name="T3" fmla="*/ 175 h 324"/>
                <a:gd name="T4" fmla="*/ 695 w 968"/>
                <a:gd name="T5" fmla="*/ 175 h 324"/>
                <a:gd name="T6" fmla="*/ 687 w 968"/>
                <a:gd name="T7" fmla="*/ 175 h 324"/>
                <a:gd name="T8" fmla="*/ 286 w 968"/>
                <a:gd name="T9" fmla="*/ 68 h 324"/>
                <a:gd name="T10" fmla="*/ 219 w 968"/>
                <a:gd name="T11" fmla="*/ 0 h 324"/>
                <a:gd name="T12" fmla="*/ 0 w 968"/>
                <a:gd name="T13" fmla="*/ 58 h 324"/>
                <a:gd name="T14" fmla="*/ 0 w 968"/>
                <a:gd name="T15" fmla="*/ 143 h 324"/>
                <a:gd name="T16" fmla="*/ 687 w 968"/>
                <a:gd name="T17" fmla="*/ 324 h 324"/>
                <a:gd name="T18" fmla="*/ 706 w 968"/>
                <a:gd name="T19" fmla="*/ 324 h 324"/>
                <a:gd name="T20" fmla="*/ 968 w 968"/>
                <a:gd name="T21" fmla="*/ 305 h 324"/>
                <a:gd name="T22" fmla="*/ 968 w 968"/>
                <a:gd name="T23" fmla="*/ 219 h 324"/>
                <a:gd name="T24" fmla="*/ 862 w 968"/>
                <a:gd name="T25" fmla="*/ 164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8" h="324">
                  <a:moveTo>
                    <a:pt x="862" y="164"/>
                  </a:moveTo>
                  <a:cubicBezTo>
                    <a:pt x="813" y="171"/>
                    <a:pt x="761" y="175"/>
                    <a:pt x="706" y="175"/>
                  </a:cubicBezTo>
                  <a:cubicBezTo>
                    <a:pt x="702" y="175"/>
                    <a:pt x="699" y="175"/>
                    <a:pt x="695" y="175"/>
                  </a:cubicBezTo>
                  <a:cubicBezTo>
                    <a:pt x="692" y="175"/>
                    <a:pt x="690" y="175"/>
                    <a:pt x="687" y="175"/>
                  </a:cubicBezTo>
                  <a:cubicBezTo>
                    <a:pt x="516" y="172"/>
                    <a:pt x="368" y="130"/>
                    <a:pt x="286" y="68"/>
                  </a:cubicBezTo>
                  <a:cubicBezTo>
                    <a:pt x="245" y="36"/>
                    <a:pt x="221" y="39"/>
                    <a:pt x="219" y="0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140" y="249"/>
                    <a:pt x="395" y="321"/>
                    <a:pt x="687" y="324"/>
                  </a:cubicBezTo>
                  <a:cubicBezTo>
                    <a:pt x="694" y="324"/>
                    <a:pt x="700" y="324"/>
                    <a:pt x="706" y="324"/>
                  </a:cubicBezTo>
                  <a:cubicBezTo>
                    <a:pt x="798" y="324"/>
                    <a:pt x="886" y="317"/>
                    <a:pt x="968" y="305"/>
                  </a:cubicBezTo>
                  <a:cubicBezTo>
                    <a:pt x="968" y="219"/>
                    <a:pt x="968" y="219"/>
                    <a:pt x="968" y="219"/>
                  </a:cubicBezTo>
                  <a:cubicBezTo>
                    <a:pt x="935" y="229"/>
                    <a:pt x="900" y="158"/>
                    <a:pt x="862" y="164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2359025" y="2044701"/>
              <a:ext cx="304800" cy="2560638"/>
            </a:xfrm>
            <a:custGeom>
              <a:avLst/>
              <a:gdLst>
                <a:gd name="T0" fmla="*/ 7 w 113"/>
                <a:gd name="T1" fmla="*/ 136 h 949"/>
                <a:gd name="T2" fmla="*/ 7 w 113"/>
                <a:gd name="T3" fmla="*/ 101 h 949"/>
                <a:gd name="T4" fmla="*/ 0 w 113"/>
                <a:gd name="T5" fmla="*/ 101 h 949"/>
                <a:gd name="T6" fmla="*/ 0 w 113"/>
                <a:gd name="T7" fmla="*/ 763 h 949"/>
                <a:gd name="T8" fmla="*/ 113 w 113"/>
                <a:gd name="T9" fmla="*/ 949 h 949"/>
                <a:gd name="T10" fmla="*/ 113 w 113"/>
                <a:gd name="T11" fmla="*/ 0 h 949"/>
                <a:gd name="T12" fmla="*/ 7 w 113"/>
                <a:gd name="T13" fmla="*/ 136 h 9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3" h="949">
                  <a:moveTo>
                    <a:pt x="7" y="136"/>
                  </a:moveTo>
                  <a:cubicBezTo>
                    <a:pt x="7" y="101"/>
                    <a:pt x="7" y="101"/>
                    <a:pt x="7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763"/>
                    <a:pt x="0" y="763"/>
                    <a:pt x="0" y="763"/>
                  </a:cubicBezTo>
                  <a:cubicBezTo>
                    <a:pt x="0" y="831"/>
                    <a:pt x="41" y="895"/>
                    <a:pt x="113" y="949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59" y="41"/>
                    <a:pt x="22" y="87"/>
                    <a:pt x="7" y="136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auto">
            <a:xfrm>
              <a:off x="4568825" y="1993901"/>
              <a:ext cx="839788" cy="1655763"/>
            </a:xfrm>
            <a:custGeom>
              <a:avLst/>
              <a:gdLst>
                <a:gd name="T0" fmla="*/ 311 w 311"/>
                <a:gd name="T1" fmla="*/ 614 h 614"/>
                <a:gd name="T2" fmla="*/ 311 w 311"/>
                <a:gd name="T3" fmla="*/ 27 h 614"/>
                <a:gd name="T4" fmla="*/ 0 w 311"/>
                <a:gd name="T5" fmla="*/ 0 h 614"/>
                <a:gd name="T6" fmla="*/ 0 w 311"/>
                <a:gd name="T7" fmla="*/ 563 h 614"/>
                <a:gd name="T8" fmla="*/ 311 w 311"/>
                <a:gd name="T9" fmla="*/ 614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1" h="614">
                  <a:moveTo>
                    <a:pt x="311" y="614"/>
                  </a:moveTo>
                  <a:cubicBezTo>
                    <a:pt x="311" y="27"/>
                    <a:pt x="311" y="27"/>
                    <a:pt x="311" y="27"/>
                  </a:cubicBezTo>
                  <a:cubicBezTo>
                    <a:pt x="215" y="9"/>
                    <a:pt x="110" y="0"/>
                    <a:pt x="0" y="0"/>
                  </a:cubicBezTo>
                  <a:cubicBezTo>
                    <a:pt x="0" y="563"/>
                    <a:pt x="0" y="563"/>
                    <a:pt x="0" y="563"/>
                  </a:cubicBezTo>
                  <a:cubicBezTo>
                    <a:pt x="118" y="563"/>
                    <a:pt x="227" y="582"/>
                    <a:pt x="311" y="614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auto">
            <a:xfrm>
              <a:off x="4568825" y="1747838"/>
              <a:ext cx="1411288" cy="542925"/>
            </a:xfrm>
            <a:custGeom>
              <a:avLst/>
              <a:gdLst>
                <a:gd name="T0" fmla="*/ 311 w 523"/>
                <a:gd name="T1" fmla="*/ 201 h 201"/>
                <a:gd name="T2" fmla="*/ 523 w 523"/>
                <a:gd name="T3" fmla="*/ 84 h 201"/>
                <a:gd name="T4" fmla="*/ 0 w 523"/>
                <a:gd name="T5" fmla="*/ 0 h 201"/>
                <a:gd name="T6" fmla="*/ 0 w 523"/>
                <a:gd name="T7" fmla="*/ 149 h 201"/>
                <a:gd name="T8" fmla="*/ 311 w 523"/>
                <a:gd name="T9" fmla="*/ 201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3" h="201">
                  <a:moveTo>
                    <a:pt x="311" y="201"/>
                  </a:moveTo>
                  <a:cubicBezTo>
                    <a:pt x="523" y="84"/>
                    <a:pt x="523" y="84"/>
                    <a:pt x="523" y="84"/>
                  </a:cubicBezTo>
                  <a:cubicBezTo>
                    <a:pt x="381" y="31"/>
                    <a:pt x="200" y="0"/>
                    <a:pt x="0" y="0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119" y="149"/>
                    <a:pt x="226" y="169"/>
                    <a:pt x="311" y="201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auto">
            <a:xfrm>
              <a:off x="4989513" y="2746376"/>
              <a:ext cx="1792288" cy="1697038"/>
            </a:xfrm>
            <a:custGeom>
              <a:avLst/>
              <a:gdLst>
                <a:gd name="T0" fmla="*/ 664 w 664"/>
                <a:gd name="T1" fmla="*/ 281 h 629"/>
                <a:gd name="T2" fmla="*/ 369 w 664"/>
                <a:gd name="T3" fmla="*/ 0 h 629"/>
                <a:gd name="T4" fmla="*/ 155 w 664"/>
                <a:gd name="T5" fmla="*/ 114 h 629"/>
                <a:gd name="T6" fmla="*/ 332 w 664"/>
                <a:gd name="T7" fmla="*/ 281 h 629"/>
                <a:gd name="T8" fmla="*/ 0 w 664"/>
                <a:gd name="T9" fmla="*/ 488 h 629"/>
                <a:gd name="T10" fmla="*/ 106 w 664"/>
                <a:gd name="T11" fmla="*/ 629 h 629"/>
                <a:gd name="T12" fmla="*/ 664 w 664"/>
                <a:gd name="T13" fmla="*/ 281 h 6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4" h="629">
                  <a:moveTo>
                    <a:pt x="664" y="281"/>
                  </a:moveTo>
                  <a:cubicBezTo>
                    <a:pt x="664" y="168"/>
                    <a:pt x="549" y="67"/>
                    <a:pt x="369" y="0"/>
                  </a:cubicBezTo>
                  <a:cubicBezTo>
                    <a:pt x="155" y="114"/>
                    <a:pt x="155" y="114"/>
                    <a:pt x="155" y="114"/>
                  </a:cubicBezTo>
                  <a:cubicBezTo>
                    <a:pt x="262" y="155"/>
                    <a:pt x="332" y="214"/>
                    <a:pt x="332" y="281"/>
                  </a:cubicBezTo>
                  <a:cubicBezTo>
                    <a:pt x="332" y="378"/>
                    <a:pt x="193" y="459"/>
                    <a:pt x="0" y="488"/>
                  </a:cubicBezTo>
                  <a:cubicBezTo>
                    <a:pt x="106" y="629"/>
                    <a:pt x="106" y="629"/>
                    <a:pt x="106" y="629"/>
                  </a:cubicBezTo>
                  <a:cubicBezTo>
                    <a:pt x="430" y="580"/>
                    <a:pt x="664" y="443"/>
                    <a:pt x="664" y="28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" name="Freeform 15"/>
            <p:cNvSpPr>
              <a:spLocks/>
            </p:cNvSpPr>
            <p:nvPr/>
          </p:nvSpPr>
          <p:spPr bwMode="auto">
            <a:xfrm>
              <a:off x="2663825" y="4170363"/>
              <a:ext cx="2613025" cy="693738"/>
            </a:xfrm>
            <a:custGeom>
              <a:avLst/>
              <a:gdLst>
                <a:gd name="T0" fmla="*/ 862 w 968"/>
                <a:gd name="T1" fmla="*/ 97 h 257"/>
                <a:gd name="T2" fmla="*/ 706 w 968"/>
                <a:gd name="T3" fmla="*/ 108 h 257"/>
                <a:gd name="T4" fmla="*/ 695 w 968"/>
                <a:gd name="T5" fmla="*/ 108 h 257"/>
                <a:gd name="T6" fmla="*/ 286 w 968"/>
                <a:gd name="T7" fmla="*/ 0 h 257"/>
                <a:gd name="T8" fmla="*/ 0 w 968"/>
                <a:gd name="T9" fmla="*/ 76 h 257"/>
                <a:gd name="T10" fmla="*/ 687 w 968"/>
                <a:gd name="T11" fmla="*/ 256 h 257"/>
                <a:gd name="T12" fmla="*/ 706 w 968"/>
                <a:gd name="T13" fmla="*/ 257 h 257"/>
                <a:gd name="T14" fmla="*/ 968 w 968"/>
                <a:gd name="T15" fmla="*/ 237 h 257"/>
                <a:gd name="T16" fmla="*/ 862 w 968"/>
                <a:gd name="T17" fmla="*/ 9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8" h="257">
                  <a:moveTo>
                    <a:pt x="862" y="97"/>
                  </a:moveTo>
                  <a:cubicBezTo>
                    <a:pt x="813" y="104"/>
                    <a:pt x="761" y="108"/>
                    <a:pt x="706" y="108"/>
                  </a:cubicBezTo>
                  <a:cubicBezTo>
                    <a:pt x="702" y="108"/>
                    <a:pt x="699" y="108"/>
                    <a:pt x="695" y="108"/>
                  </a:cubicBezTo>
                  <a:cubicBezTo>
                    <a:pt x="521" y="106"/>
                    <a:pt x="369" y="63"/>
                    <a:pt x="286" y="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140" y="182"/>
                    <a:pt x="395" y="253"/>
                    <a:pt x="687" y="256"/>
                  </a:cubicBezTo>
                  <a:cubicBezTo>
                    <a:pt x="694" y="256"/>
                    <a:pt x="700" y="257"/>
                    <a:pt x="706" y="257"/>
                  </a:cubicBezTo>
                  <a:cubicBezTo>
                    <a:pt x="798" y="257"/>
                    <a:pt x="886" y="250"/>
                    <a:pt x="968" y="237"/>
                  </a:cubicBezTo>
                  <a:lnTo>
                    <a:pt x="862" y="97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auto">
            <a:xfrm>
              <a:off x="2359025" y="1338263"/>
              <a:ext cx="2209800" cy="1492250"/>
            </a:xfrm>
            <a:custGeom>
              <a:avLst/>
              <a:gdLst>
                <a:gd name="T0" fmla="*/ 331 w 819"/>
                <a:gd name="T1" fmla="*/ 367 h 553"/>
                <a:gd name="T2" fmla="*/ 819 w 819"/>
                <a:gd name="T3" fmla="*/ 176 h 553"/>
                <a:gd name="T4" fmla="*/ 819 w 819"/>
                <a:gd name="T5" fmla="*/ 149 h 553"/>
                <a:gd name="T6" fmla="*/ 819 w 819"/>
                <a:gd name="T7" fmla="*/ 0 h 553"/>
                <a:gd name="T8" fmla="*/ 819 w 819"/>
                <a:gd name="T9" fmla="*/ 0 h 553"/>
                <a:gd name="T10" fmla="*/ 0 w 819"/>
                <a:gd name="T11" fmla="*/ 367 h 553"/>
                <a:gd name="T12" fmla="*/ 113 w 819"/>
                <a:gd name="T13" fmla="*/ 553 h 553"/>
                <a:gd name="T14" fmla="*/ 399 w 819"/>
                <a:gd name="T15" fmla="*/ 478 h 553"/>
                <a:gd name="T16" fmla="*/ 331 w 819"/>
                <a:gd name="T17" fmla="*/ 367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9" h="553">
                  <a:moveTo>
                    <a:pt x="331" y="367"/>
                  </a:moveTo>
                  <a:cubicBezTo>
                    <a:pt x="331" y="246"/>
                    <a:pt x="550" y="176"/>
                    <a:pt x="819" y="176"/>
                  </a:cubicBezTo>
                  <a:cubicBezTo>
                    <a:pt x="819" y="149"/>
                    <a:pt x="819" y="149"/>
                    <a:pt x="819" y="149"/>
                  </a:cubicBezTo>
                  <a:cubicBezTo>
                    <a:pt x="819" y="0"/>
                    <a:pt x="819" y="0"/>
                    <a:pt x="819" y="0"/>
                  </a:cubicBezTo>
                  <a:cubicBezTo>
                    <a:pt x="819" y="0"/>
                    <a:pt x="819" y="0"/>
                    <a:pt x="819" y="0"/>
                  </a:cubicBezTo>
                  <a:cubicBezTo>
                    <a:pt x="367" y="0"/>
                    <a:pt x="0" y="164"/>
                    <a:pt x="0" y="367"/>
                  </a:cubicBezTo>
                  <a:cubicBezTo>
                    <a:pt x="0" y="435"/>
                    <a:pt x="41" y="499"/>
                    <a:pt x="113" y="553"/>
                  </a:cubicBezTo>
                  <a:cubicBezTo>
                    <a:pt x="399" y="478"/>
                    <a:pt x="399" y="478"/>
                    <a:pt x="399" y="478"/>
                  </a:cubicBezTo>
                  <a:cubicBezTo>
                    <a:pt x="356" y="446"/>
                    <a:pt x="331" y="408"/>
                    <a:pt x="331" y="367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accent2">
                    <a:lumMod val="60000"/>
                    <a:lumOff val="40000"/>
                  </a:schemeClr>
                </a:solidFill>
              </a:endParaRPr>
            </a:p>
          </p:txBody>
        </p:sp>
      </p:grpSp>
      <p:sp>
        <p:nvSpPr>
          <p:cNvPr id="20" name="Rectangle 19"/>
          <p:cNvSpPr/>
          <p:nvPr>
            <p:custDataLst>
              <p:tags r:id="rId1"/>
            </p:custDataLst>
          </p:nvPr>
        </p:nvSpPr>
        <p:spPr>
          <a:xfrm>
            <a:off x="2395613" y="4983972"/>
            <a:ext cx="1639815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P 1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4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aS</a:t>
            </a:r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rovider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4103298" y="4983972"/>
            <a:ext cx="0" cy="836762"/>
          </a:xfrm>
          <a:prstGeom prst="line">
            <a:avLst/>
          </a:prstGeom>
          <a:ln w="3175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5923255" y="4983972"/>
            <a:ext cx="0" cy="836762"/>
          </a:xfrm>
          <a:prstGeom prst="line">
            <a:avLst/>
          </a:prstGeom>
          <a:ln w="3175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7734802" y="4983972"/>
            <a:ext cx="0" cy="836762"/>
          </a:xfrm>
          <a:prstGeom prst="line">
            <a:avLst/>
          </a:prstGeom>
          <a:ln w="3175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112EC10B-8B21-1D45-89C1-712DF5B2626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59434" y="4983972"/>
            <a:ext cx="1639815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P 2</a:t>
            </a:r>
            <a:endParaRPr lang="en-US" sz="140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400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kenize Non-fungible Real Estate Assets</a:t>
            </a:r>
            <a:endParaRPr lang="en-US" sz="140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6A3E936-4BD7-3E48-916A-97458F6520F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989954" y="5014265"/>
            <a:ext cx="1639815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P 3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see Sales and Transfer of Ownership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E497F21-6F63-B149-8C1C-998A4268225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753775" y="5014265"/>
            <a:ext cx="1639815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P 4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ale with Front End Interface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717059" y="757881"/>
            <a:ext cx="510746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Mint non-fungible tokens for property assets on the </a:t>
            </a:r>
            <a:r>
              <a:rPr lang="en-US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blockchain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for irrefutable proof of ownership.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1256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/>
          <p:cNvSpPr/>
          <p:nvPr/>
        </p:nvSpPr>
        <p:spPr>
          <a:xfrm>
            <a:off x="0" y="4683306"/>
            <a:ext cx="12192000" cy="143809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1209890" y="1134220"/>
            <a:ext cx="3775074" cy="3205968"/>
            <a:chOff x="2359025" y="1338263"/>
            <a:chExt cx="4422776" cy="3756026"/>
          </a:xfrm>
        </p:grpSpPr>
        <p:sp>
          <p:nvSpPr>
            <p:cNvPr id="7" name="Freeform 5"/>
            <p:cNvSpPr>
              <a:spLocks/>
            </p:cNvSpPr>
            <p:nvPr/>
          </p:nvSpPr>
          <p:spPr bwMode="auto">
            <a:xfrm>
              <a:off x="5141913" y="1898651"/>
              <a:ext cx="838200" cy="1660525"/>
            </a:xfrm>
            <a:custGeom>
              <a:avLst/>
              <a:gdLst>
                <a:gd name="T0" fmla="*/ 311 w 311"/>
                <a:gd name="T1" fmla="*/ 615 h 615"/>
                <a:gd name="T2" fmla="*/ 311 w 311"/>
                <a:gd name="T3" fmla="*/ 28 h 615"/>
                <a:gd name="T4" fmla="*/ 0 w 311"/>
                <a:gd name="T5" fmla="*/ 0 h 615"/>
                <a:gd name="T6" fmla="*/ 0 w 311"/>
                <a:gd name="T7" fmla="*/ 564 h 615"/>
                <a:gd name="T8" fmla="*/ 311 w 311"/>
                <a:gd name="T9" fmla="*/ 615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1" h="615">
                  <a:moveTo>
                    <a:pt x="311" y="615"/>
                  </a:moveTo>
                  <a:cubicBezTo>
                    <a:pt x="311" y="28"/>
                    <a:pt x="311" y="28"/>
                    <a:pt x="311" y="28"/>
                  </a:cubicBezTo>
                  <a:cubicBezTo>
                    <a:pt x="215" y="10"/>
                    <a:pt x="110" y="0"/>
                    <a:pt x="0" y="0"/>
                  </a:cubicBezTo>
                  <a:cubicBezTo>
                    <a:pt x="0" y="564"/>
                    <a:pt x="0" y="564"/>
                    <a:pt x="0" y="564"/>
                  </a:cubicBezTo>
                  <a:cubicBezTo>
                    <a:pt x="118" y="564"/>
                    <a:pt x="227" y="583"/>
                    <a:pt x="311" y="615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5276850" y="3054351"/>
              <a:ext cx="1504950" cy="1987550"/>
            </a:xfrm>
            <a:custGeom>
              <a:avLst/>
              <a:gdLst>
                <a:gd name="T0" fmla="*/ 550 w 558"/>
                <a:gd name="T1" fmla="*/ 164 h 737"/>
                <a:gd name="T2" fmla="*/ 550 w 558"/>
                <a:gd name="T3" fmla="*/ 199 h 737"/>
                <a:gd name="T4" fmla="*/ 263 w 558"/>
                <a:gd name="T5" fmla="*/ 107 h 737"/>
                <a:gd name="T6" fmla="*/ 49 w 558"/>
                <a:gd name="T7" fmla="*/ 0 h 737"/>
                <a:gd name="T8" fmla="*/ 49 w 558"/>
                <a:gd name="T9" fmla="*/ 221 h 737"/>
                <a:gd name="T10" fmla="*/ 51 w 558"/>
                <a:gd name="T11" fmla="*/ 221 h 737"/>
                <a:gd name="T12" fmla="*/ 226 w 558"/>
                <a:gd name="T13" fmla="*/ 389 h 737"/>
                <a:gd name="T14" fmla="*/ 0 w 558"/>
                <a:gd name="T15" fmla="*/ 511 h 737"/>
                <a:gd name="T16" fmla="*/ 0 w 558"/>
                <a:gd name="T17" fmla="*/ 737 h 737"/>
                <a:gd name="T18" fmla="*/ 558 w 558"/>
                <a:gd name="T19" fmla="*/ 389 h 737"/>
                <a:gd name="T20" fmla="*/ 558 w 558"/>
                <a:gd name="T21" fmla="*/ 164 h 737"/>
                <a:gd name="T22" fmla="*/ 550 w 558"/>
                <a:gd name="T23" fmla="*/ 16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58" h="737">
                  <a:moveTo>
                    <a:pt x="550" y="164"/>
                  </a:moveTo>
                  <a:cubicBezTo>
                    <a:pt x="550" y="199"/>
                    <a:pt x="550" y="199"/>
                    <a:pt x="550" y="199"/>
                  </a:cubicBezTo>
                  <a:cubicBezTo>
                    <a:pt x="522" y="106"/>
                    <a:pt x="416" y="164"/>
                    <a:pt x="263" y="107"/>
                  </a:cubicBezTo>
                  <a:cubicBezTo>
                    <a:pt x="199" y="83"/>
                    <a:pt x="127" y="15"/>
                    <a:pt x="49" y="0"/>
                  </a:cubicBezTo>
                  <a:cubicBezTo>
                    <a:pt x="49" y="221"/>
                    <a:pt x="49" y="221"/>
                    <a:pt x="49" y="221"/>
                  </a:cubicBezTo>
                  <a:cubicBezTo>
                    <a:pt x="50" y="221"/>
                    <a:pt x="50" y="221"/>
                    <a:pt x="51" y="221"/>
                  </a:cubicBezTo>
                  <a:cubicBezTo>
                    <a:pt x="158" y="261"/>
                    <a:pt x="226" y="322"/>
                    <a:pt x="226" y="389"/>
                  </a:cubicBezTo>
                  <a:cubicBezTo>
                    <a:pt x="226" y="466"/>
                    <a:pt x="136" y="472"/>
                    <a:pt x="0" y="511"/>
                  </a:cubicBezTo>
                  <a:cubicBezTo>
                    <a:pt x="0" y="737"/>
                    <a:pt x="0" y="737"/>
                    <a:pt x="0" y="737"/>
                  </a:cubicBezTo>
                  <a:cubicBezTo>
                    <a:pt x="324" y="688"/>
                    <a:pt x="558" y="551"/>
                    <a:pt x="558" y="389"/>
                  </a:cubicBezTo>
                  <a:cubicBezTo>
                    <a:pt x="558" y="164"/>
                    <a:pt x="558" y="164"/>
                    <a:pt x="558" y="164"/>
                  </a:cubicBezTo>
                  <a:lnTo>
                    <a:pt x="550" y="164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4989513" y="4062413"/>
              <a:ext cx="287338" cy="979488"/>
            </a:xfrm>
            <a:custGeom>
              <a:avLst/>
              <a:gdLst>
                <a:gd name="T0" fmla="*/ 0 w 181"/>
                <a:gd name="T1" fmla="*/ 0 h 617"/>
                <a:gd name="T2" fmla="*/ 0 w 181"/>
                <a:gd name="T3" fmla="*/ 356 h 617"/>
                <a:gd name="T4" fmla="*/ 181 w 181"/>
                <a:gd name="T5" fmla="*/ 617 h 617"/>
                <a:gd name="T6" fmla="*/ 181 w 181"/>
                <a:gd name="T7" fmla="*/ 240 h 617"/>
                <a:gd name="T8" fmla="*/ 0 w 181"/>
                <a:gd name="T9" fmla="*/ 0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" h="617">
                  <a:moveTo>
                    <a:pt x="0" y="0"/>
                  </a:moveTo>
                  <a:lnTo>
                    <a:pt x="0" y="356"/>
                  </a:lnTo>
                  <a:lnTo>
                    <a:pt x="181" y="617"/>
                  </a:lnTo>
                  <a:lnTo>
                    <a:pt x="181" y="24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2663825" y="1462088"/>
              <a:ext cx="1905000" cy="2652713"/>
            </a:xfrm>
            <a:custGeom>
              <a:avLst/>
              <a:gdLst>
                <a:gd name="T0" fmla="*/ 706 w 706"/>
                <a:gd name="T1" fmla="*/ 760 h 983"/>
                <a:gd name="T2" fmla="*/ 706 w 706"/>
                <a:gd name="T3" fmla="*/ 0 h 983"/>
                <a:gd name="T4" fmla="*/ 0 w 706"/>
                <a:gd name="T5" fmla="*/ 180 h 983"/>
                <a:gd name="T6" fmla="*/ 0 w 706"/>
                <a:gd name="T7" fmla="*/ 983 h 983"/>
                <a:gd name="T8" fmla="*/ 219 w 706"/>
                <a:gd name="T9" fmla="*/ 983 h 983"/>
                <a:gd name="T10" fmla="*/ 218 w 706"/>
                <a:gd name="T11" fmla="*/ 979 h 983"/>
                <a:gd name="T12" fmla="*/ 706 w 706"/>
                <a:gd name="T13" fmla="*/ 760 h 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6" h="983">
                  <a:moveTo>
                    <a:pt x="706" y="760"/>
                  </a:moveTo>
                  <a:cubicBezTo>
                    <a:pt x="706" y="0"/>
                    <a:pt x="706" y="0"/>
                    <a:pt x="706" y="0"/>
                  </a:cubicBezTo>
                  <a:cubicBezTo>
                    <a:pt x="405" y="0"/>
                    <a:pt x="143" y="72"/>
                    <a:pt x="0" y="180"/>
                  </a:cubicBezTo>
                  <a:cubicBezTo>
                    <a:pt x="0" y="983"/>
                    <a:pt x="0" y="983"/>
                    <a:pt x="0" y="983"/>
                  </a:cubicBezTo>
                  <a:cubicBezTo>
                    <a:pt x="219" y="983"/>
                    <a:pt x="219" y="983"/>
                    <a:pt x="219" y="983"/>
                  </a:cubicBezTo>
                  <a:cubicBezTo>
                    <a:pt x="219" y="982"/>
                    <a:pt x="218" y="980"/>
                    <a:pt x="218" y="979"/>
                  </a:cubicBezTo>
                  <a:cubicBezTo>
                    <a:pt x="218" y="858"/>
                    <a:pt x="437" y="760"/>
                    <a:pt x="706" y="760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auto">
            <a:xfrm>
              <a:off x="2663825" y="2627313"/>
              <a:ext cx="771525" cy="1978025"/>
            </a:xfrm>
            <a:custGeom>
              <a:avLst/>
              <a:gdLst>
                <a:gd name="T0" fmla="*/ 486 w 486"/>
                <a:gd name="T1" fmla="*/ 0 h 1246"/>
                <a:gd name="T2" fmla="*/ 486 w 486"/>
                <a:gd name="T3" fmla="*/ 1011 h 1246"/>
                <a:gd name="T4" fmla="*/ 0 w 486"/>
                <a:gd name="T5" fmla="*/ 1246 h 1246"/>
                <a:gd name="T6" fmla="*/ 0 w 486"/>
                <a:gd name="T7" fmla="*/ 116 h 1246"/>
                <a:gd name="T8" fmla="*/ 486 w 486"/>
                <a:gd name="T9" fmla="*/ 0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6" h="1246">
                  <a:moveTo>
                    <a:pt x="486" y="0"/>
                  </a:moveTo>
                  <a:lnTo>
                    <a:pt x="486" y="1011"/>
                  </a:lnTo>
                  <a:lnTo>
                    <a:pt x="0" y="1246"/>
                  </a:lnTo>
                  <a:lnTo>
                    <a:pt x="0" y="116"/>
                  </a:lnTo>
                  <a:lnTo>
                    <a:pt x="486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2663825" y="4219576"/>
              <a:ext cx="2613025" cy="874713"/>
            </a:xfrm>
            <a:custGeom>
              <a:avLst/>
              <a:gdLst>
                <a:gd name="T0" fmla="*/ 862 w 968"/>
                <a:gd name="T1" fmla="*/ 164 h 324"/>
                <a:gd name="T2" fmla="*/ 706 w 968"/>
                <a:gd name="T3" fmla="*/ 175 h 324"/>
                <a:gd name="T4" fmla="*/ 695 w 968"/>
                <a:gd name="T5" fmla="*/ 175 h 324"/>
                <a:gd name="T6" fmla="*/ 687 w 968"/>
                <a:gd name="T7" fmla="*/ 175 h 324"/>
                <a:gd name="T8" fmla="*/ 286 w 968"/>
                <a:gd name="T9" fmla="*/ 68 h 324"/>
                <a:gd name="T10" fmla="*/ 219 w 968"/>
                <a:gd name="T11" fmla="*/ 0 h 324"/>
                <a:gd name="T12" fmla="*/ 0 w 968"/>
                <a:gd name="T13" fmla="*/ 58 h 324"/>
                <a:gd name="T14" fmla="*/ 0 w 968"/>
                <a:gd name="T15" fmla="*/ 143 h 324"/>
                <a:gd name="T16" fmla="*/ 687 w 968"/>
                <a:gd name="T17" fmla="*/ 324 h 324"/>
                <a:gd name="T18" fmla="*/ 706 w 968"/>
                <a:gd name="T19" fmla="*/ 324 h 324"/>
                <a:gd name="T20" fmla="*/ 968 w 968"/>
                <a:gd name="T21" fmla="*/ 305 h 324"/>
                <a:gd name="T22" fmla="*/ 968 w 968"/>
                <a:gd name="T23" fmla="*/ 219 h 324"/>
                <a:gd name="T24" fmla="*/ 862 w 968"/>
                <a:gd name="T25" fmla="*/ 164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8" h="324">
                  <a:moveTo>
                    <a:pt x="862" y="164"/>
                  </a:moveTo>
                  <a:cubicBezTo>
                    <a:pt x="813" y="171"/>
                    <a:pt x="761" y="175"/>
                    <a:pt x="706" y="175"/>
                  </a:cubicBezTo>
                  <a:cubicBezTo>
                    <a:pt x="702" y="175"/>
                    <a:pt x="699" y="175"/>
                    <a:pt x="695" y="175"/>
                  </a:cubicBezTo>
                  <a:cubicBezTo>
                    <a:pt x="692" y="175"/>
                    <a:pt x="690" y="175"/>
                    <a:pt x="687" y="175"/>
                  </a:cubicBezTo>
                  <a:cubicBezTo>
                    <a:pt x="516" y="172"/>
                    <a:pt x="368" y="130"/>
                    <a:pt x="286" y="68"/>
                  </a:cubicBezTo>
                  <a:cubicBezTo>
                    <a:pt x="245" y="36"/>
                    <a:pt x="221" y="39"/>
                    <a:pt x="219" y="0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140" y="249"/>
                    <a:pt x="395" y="321"/>
                    <a:pt x="687" y="324"/>
                  </a:cubicBezTo>
                  <a:cubicBezTo>
                    <a:pt x="694" y="324"/>
                    <a:pt x="700" y="324"/>
                    <a:pt x="706" y="324"/>
                  </a:cubicBezTo>
                  <a:cubicBezTo>
                    <a:pt x="798" y="324"/>
                    <a:pt x="886" y="317"/>
                    <a:pt x="968" y="305"/>
                  </a:cubicBezTo>
                  <a:cubicBezTo>
                    <a:pt x="968" y="219"/>
                    <a:pt x="968" y="219"/>
                    <a:pt x="968" y="219"/>
                  </a:cubicBezTo>
                  <a:cubicBezTo>
                    <a:pt x="935" y="229"/>
                    <a:pt x="900" y="158"/>
                    <a:pt x="862" y="164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2359025" y="2044701"/>
              <a:ext cx="304800" cy="2560638"/>
            </a:xfrm>
            <a:custGeom>
              <a:avLst/>
              <a:gdLst>
                <a:gd name="T0" fmla="*/ 7 w 113"/>
                <a:gd name="T1" fmla="*/ 136 h 949"/>
                <a:gd name="T2" fmla="*/ 7 w 113"/>
                <a:gd name="T3" fmla="*/ 101 h 949"/>
                <a:gd name="T4" fmla="*/ 0 w 113"/>
                <a:gd name="T5" fmla="*/ 101 h 949"/>
                <a:gd name="T6" fmla="*/ 0 w 113"/>
                <a:gd name="T7" fmla="*/ 763 h 949"/>
                <a:gd name="T8" fmla="*/ 113 w 113"/>
                <a:gd name="T9" fmla="*/ 949 h 949"/>
                <a:gd name="T10" fmla="*/ 113 w 113"/>
                <a:gd name="T11" fmla="*/ 0 h 949"/>
                <a:gd name="T12" fmla="*/ 7 w 113"/>
                <a:gd name="T13" fmla="*/ 136 h 9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3" h="949">
                  <a:moveTo>
                    <a:pt x="7" y="136"/>
                  </a:moveTo>
                  <a:cubicBezTo>
                    <a:pt x="7" y="101"/>
                    <a:pt x="7" y="101"/>
                    <a:pt x="7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763"/>
                    <a:pt x="0" y="763"/>
                    <a:pt x="0" y="763"/>
                  </a:cubicBezTo>
                  <a:cubicBezTo>
                    <a:pt x="0" y="831"/>
                    <a:pt x="41" y="895"/>
                    <a:pt x="113" y="949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59" y="41"/>
                    <a:pt x="22" y="87"/>
                    <a:pt x="7" y="136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auto">
            <a:xfrm>
              <a:off x="4568825" y="1993901"/>
              <a:ext cx="839788" cy="1655763"/>
            </a:xfrm>
            <a:custGeom>
              <a:avLst/>
              <a:gdLst>
                <a:gd name="T0" fmla="*/ 311 w 311"/>
                <a:gd name="T1" fmla="*/ 614 h 614"/>
                <a:gd name="T2" fmla="*/ 311 w 311"/>
                <a:gd name="T3" fmla="*/ 27 h 614"/>
                <a:gd name="T4" fmla="*/ 0 w 311"/>
                <a:gd name="T5" fmla="*/ 0 h 614"/>
                <a:gd name="T6" fmla="*/ 0 w 311"/>
                <a:gd name="T7" fmla="*/ 563 h 614"/>
                <a:gd name="T8" fmla="*/ 311 w 311"/>
                <a:gd name="T9" fmla="*/ 614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1" h="614">
                  <a:moveTo>
                    <a:pt x="311" y="614"/>
                  </a:moveTo>
                  <a:cubicBezTo>
                    <a:pt x="311" y="27"/>
                    <a:pt x="311" y="27"/>
                    <a:pt x="311" y="27"/>
                  </a:cubicBezTo>
                  <a:cubicBezTo>
                    <a:pt x="215" y="9"/>
                    <a:pt x="110" y="0"/>
                    <a:pt x="0" y="0"/>
                  </a:cubicBezTo>
                  <a:cubicBezTo>
                    <a:pt x="0" y="563"/>
                    <a:pt x="0" y="563"/>
                    <a:pt x="0" y="563"/>
                  </a:cubicBezTo>
                  <a:cubicBezTo>
                    <a:pt x="118" y="563"/>
                    <a:pt x="227" y="582"/>
                    <a:pt x="311" y="614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auto">
            <a:xfrm>
              <a:off x="4568825" y="1747838"/>
              <a:ext cx="1411288" cy="542925"/>
            </a:xfrm>
            <a:custGeom>
              <a:avLst/>
              <a:gdLst>
                <a:gd name="T0" fmla="*/ 311 w 523"/>
                <a:gd name="T1" fmla="*/ 201 h 201"/>
                <a:gd name="T2" fmla="*/ 523 w 523"/>
                <a:gd name="T3" fmla="*/ 84 h 201"/>
                <a:gd name="T4" fmla="*/ 0 w 523"/>
                <a:gd name="T5" fmla="*/ 0 h 201"/>
                <a:gd name="T6" fmla="*/ 0 w 523"/>
                <a:gd name="T7" fmla="*/ 149 h 201"/>
                <a:gd name="T8" fmla="*/ 311 w 523"/>
                <a:gd name="T9" fmla="*/ 201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3" h="201">
                  <a:moveTo>
                    <a:pt x="311" y="201"/>
                  </a:moveTo>
                  <a:cubicBezTo>
                    <a:pt x="523" y="84"/>
                    <a:pt x="523" y="84"/>
                    <a:pt x="523" y="84"/>
                  </a:cubicBezTo>
                  <a:cubicBezTo>
                    <a:pt x="381" y="31"/>
                    <a:pt x="200" y="0"/>
                    <a:pt x="0" y="0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119" y="149"/>
                    <a:pt x="226" y="169"/>
                    <a:pt x="311" y="201"/>
                  </a:cubicBez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auto">
            <a:xfrm>
              <a:off x="4989513" y="2746376"/>
              <a:ext cx="1792288" cy="1697038"/>
            </a:xfrm>
            <a:custGeom>
              <a:avLst/>
              <a:gdLst>
                <a:gd name="T0" fmla="*/ 664 w 664"/>
                <a:gd name="T1" fmla="*/ 281 h 629"/>
                <a:gd name="T2" fmla="*/ 369 w 664"/>
                <a:gd name="T3" fmla="*/ 0 h 629"/>
                <a:gd name="T4" fmla="*/ 155 w 664"/>
                <a:gd name="T5" fmla="*/ 114 h 629"/>
                <a:gd name="T6" fmla="*/ 332 w 664"/>
                <a:gd name="T7" fmla="*/ 281 h 629"/>
                <a:gd name="T8" fmla="*/ 0 w 664"/>
                <a:gd name="T9" fmla="*/ 488 h 629"/>
                <a:gd name="T10" fmla="*/ 106 w 664"/>
                <a:gd name="T11" fmla="*/ 629 h 629"/>
                <a:gd name="T12" fmla="*/ 664 w 664"/>
                <a:gd name="T13" fmla="*/ 281 h 6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4" h="629">
                  <a:moveTo>
                    <a:pt x="664" y="281"/>
                  </a:moveTo>
                  <a:cubicBezTo>
                    <a:pt x="664" y="168"/>
                    <a:pt x="549" y="67"/>
                    <a:pt x="369" y="0"/>
                  </a:cubicBezTo>
                  <a:cubicBezTo>
                    <a:pt x="155" y="114"/>
                    <a:pt x="155" y="114"/>
                    <a:pt x="155" y="114"/>
                  </a:cubicBezTo>
                  <a:cubicBezTo>
                    <a:pt x="262" y="155"/>
                    <a:pt x="332" y="214"/>
                    <a:pt x="332" y="281"/>
                  </a:cubicBezTo>
                  <a:cubicBezTo>
                    <a:pt x="332" y="378"/>
                    <a:pt x="193" y="459"/>
                    <a:pt x="0" y="488"/>
                  </a:cubicBezTo>
                  <a:cubicBezTo>
                    <a:pt x="106" y="629"/>
                    <a:pt x="106" y="629"/>
                    <a:pt x="106" y="629"/>
                  </a:cubicBezTo>
                  <a:cubicBezTo>
                    <a:pt x="430" y="580"/>
                    <a:pt x="664" y="443"/>
                    <a:pt x="664" y="281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" name="Freeform 15"/>
            <p:cNvSpPr>
              <a:spLocks/>
            </p:cNvSpPr>
            <p:nvPr/>
          </p:nvSpPr>
          <p:spPr bwMode="auto">
            <a:xfrm>
              <a:off x="2663825" y="4170363"/>
              <a:ext cx="2613025" cy="693738"/>
            </a:xfrm>
            <a:custGeom>
              <a:avLst/>
              <a:gdLst>
                <a:gd name="T0" fmla="*/ 862 w 968"/>
                <a:gd name="T1" fmla="*/ 97 h 257"/>
                <a:gd name="T2" fmla="*/ 706 w 968"/>
                <a:gd name="T3" fmla="*/ 108 h 257"/>
                <a:gd name="T4" fmla="*/ 695 w 968"/>
                <a:gd name="T5" fmla="*/ 108 h 257"/>
                <a:gd name="T6" fmla="*/ 286 w 968"/>
                <a:gd name="T7" fmla="*/ 0 h 257"/>
                <a:gd name="T8" fmla="*/ 0 w 968"/>
                <a:gd name="T9" fmla="*/ 76 h 257"/>
                <a:gd name="T10" fmla="*/ 687 w 968"/>
                <a:gd name="T11" fmla="*/ 256 h 257"/>
                <a:gd name="T12" fmla="*/ 706 w 968"/>
                <a:gd name="T13" fmla="*/ 257 h 257"/>
                <a:gd name="T14" fmla="*/ 968 w 968"/>
                <a:gd name="T15" fmla="*/ 237 h 257"/>
                <a:gd name="T16" fmla="*/ 862 w 968"/>
                <a:gd name="T17" fmla="*/ 9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8" h="257">
                  <a:moveTo>
                    <a:pt x="862" y="97"/>
                  </a:moveTo>
                  <a:cubicBezTo>
                    <a:pt x="813" y="104"/>
                    <a:pt x="761" y="108"/>
                    <a:pt x="706" y="108"/>
                  </a:cubicBezTo>
                  <a:cubicBezTo>
                    <a:pt x="702" y="108"/>
                    <a:pt x="699" y="108"/>
                    <a:pt x="695" y="108"/>
                  </a:cubicBezTo>
                  <a:cubicBezTo>
                    <a:pt x="521" y="106"/>
                    <a:pt x="369" y="63"/>
                    <a:pt x="286" y="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140" y="182"/>
                    <a:pt x="395" y="253"/>
                    <a:pt x="687" y="256"/>
                  </a:cubicBezTo>
                  <a:cubicBezTo>
                    <a:pt x="694" y="256"/>
                    <a:pt x="700" y="257"/>
                    <a:pt x="706" y="257"/>
                  </a:cubicBezTo>
                  <a:cubicBezTo>
                    <a:pt x="798" y="257"/>
                    <a:pt x="886" y="250"/>
                    <a:pt x="968" y="237"/>
                  </a:cubicBezTo>
                  <a:lnTo>
                    <a:pt x="862" y="97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auto">
            <a:xfrm>
              <a:off x="2359025" y="1338263"/>
              <a:ext cx="2209800" cy="1492250"/>
            </a:xfrm>
            <a:custGeom>
              <a:avLst/>
              <a:gdLst>
                <a:gd name="T0" fmla="*/ 331 w 819"/>
                <a:gd name="T1" fmla="*/ 367 h 553"/>
                <a:gd name="T2" fmla="*/ 819 w 819"/>
                <a:gd name="T3" fmla="*/ 176 h 553"/>
                <a:gd name="T4" fmla="*/ 819 w 819"/>
                <a:gd name="T5" fmla="*/ 149 h 553"/>
                <a:gd name="T6" fmla="*/ 819 w 819"/>
                <a:gd name="T7" fmla="*/ 0 h 553"/>
                <a:gd name="T8" fmla="*/ 819 w 819"/>
                <a:gd name="T9" fmla="*/ 0 h 553"/>
                <a:gd name="T10" fmla="*/ 0 w 819"/>
                <a:gd name="T11" fmla="*/ 367 h 553"/>
                <a:gd name="T12" fmla="*/ 113 w 819"/>
                <a:gd name="T13" fmla="*/ 553 h 553"/>
                <a:gd name="T14" fmla="*/ 399 w 819"/>
                <a:gd name="T15" fmla="*/ 478 h 553"/>
                <a:gd name="T16" fmla="*/ 331 w 819"/>
                <a:gd name="T17" fmla="*/ 367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9" h="553">
                  <a:moveTo>
                    <a:pt x="331" y="367"/>
                  </a:moveTo>
                  <a:cubicBezTo>
                    <a:pt x="331" y="246"/>
                    <a:pt x="550" y="176"/>
                    <a:pt x="819" y="176"/>
                  </a:cubicBezTo>
                  <a:cubicBezTo>
                    <a:pt x="819" y="149"/>
                    <a:pt x="819" y="149"/>
                    <a:pt x="819" y="149"/>
                  </a:cubicBezTo>
                  <a:cubicBezTo>
                    <a:pt x="819" y="0"/>
                    <a:pt x="819" y="0"/>
                    <a:pt x="819" y="0"/>
                  </a:cubicBezTo>
                  <a:cubicBezTo>
                    <a:pt x="819" y="0"/>
                    <a:pt x="819" y="0"/>
                    <a:pt x="819" y="0"/>
                  </a:cubicBezTo>
                  <a:cubicBezTo>
                    <a:pt x="367" y="0"/>
                    <a:pt x="0" y="164"/>
                    <a:pt x="0" y="367"/>
                  </a:cubicBezTo>
                  <a:cubicBezTo>
                    <a:pt x="0" y="435"/>
                    <a:pt x="41" y="499"/>
                    <a:pt x="113" y="553"/>
                  </a:cubicBezTo>
                  <a:cubicBezTo>
                    <a:pt x="399" y="478"/>
                    <a:pt x="399" y="478"/>
                    <a:pt x="399" y="478"/>
                  </a:cubicBezTo>
                  <a:cubicBezTo>
                    <a:pt x="356" y="446"/>
                    <a:pt x="331" y="408"/>
                    <a:pt x="331" y="367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accent2">
                    <a:lumMod val="60000"/>
                    <a:lumOff val="40000"/>
                  </a:schemeClr>
                </a:solidFill>
              </a:endParaRPr>
            </a:p>
          </p:txBody>
        </p:sp>
      </p:grpSp>
      <p:sp>
        <p:nvSpPr>
          <p:cNvPr id="20" name="Rectangle 19"/>
          <p:cNvSpPr/>
          <p:nvPr>
            <p:custDataLst>
              <p:tags r:id="rId1"/>
            </p:custDataLst>
          </p:nvPr>
        </p:nvSpPr>
        <p:spPr>
          <a:xfrm>
            <a:off x="2395613" y="4983972"/>
            <a:ext cx="1639815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P 1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4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aS</a:t>
            </a:r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rovider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4103298" y="4983972"/>
            <a:ext cx="0" cy="836762"/>
          </a:xfrm>
          <a:prstGeom prst="line">
            <a:avLst/>
          </a:prstGeom>
          <a:ln w="3175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5923255" y="4983972"/>
            <a:ext cx="0" cy="836762"/>
          </a:xfrm>
          <a:prstGeom prst="line">
            <a:avLst/>
          </a:prstGeom>
          <a:ln w="3175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7734802" y="4983972"/>
            <a:ext cx="0" cy="836762"/>
          </a:xfrm>
          <a:prstGeom prst="line">
            <a:avLst/>
          </a:prstGeom>
          <a:ln w="3175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112EC10B-8B21-1D45-89C1-712DF5B2626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59434" y="4983972"/>
            <a:ext cx="1639815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P 2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kenize Non-fungible Real Estate Assets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6A3E936-4BD7-3E48-916A-97458F6520F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989954" y="5014265"/>
            <a:ext cx="1639815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4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P 3</a:t>
            </a:r>
            <a:endParaRPr lang="en-US" sz="1400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400" dirty="0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see Sales and Transfer of Ownership</a:t>
            </a:r>
            <a:endParaRPr lang="en-US" sz="1400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E497F21-6F63-B149-8C1C-998A4268225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753775" y="5014265"/>
            <a:ext cx="1639815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P 4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ale with Front End Interface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717059" y="757881"/>
            <a:ext cx="510746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Arrange for sale of property assets and transfer of tokens to new owners.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0986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/>
          <p:cNvSpPr/>
          <p:nvPr/>
        </p:nvSpPr>
        <p:spPr>
          <a:xfrm>
            <a:off x="0" y="4683306"/>
            <a:ext cx="12192000" cy="143809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1209890" y="1134220"/>
            <a:ext cx="3775074" cy="3205968"/>
            <a:chOff x="2359025" y="1338263"/>
            <a:chExt cx="4422776" cy="3756026"/>
          </a:xfrm>
        </p:grpSpPr>
        <p:sp>
          <p:nvSpPr>
            <p:cNvPr id="7" name="Freeform 5"/>
            <p:cNvSpPr>
              <a:spLocks/>
            </p:cNvSpPr>
            <p:nvPr/>
          </p:nvSpPr>
          <p:spPr bwMode="auto">
            <a:xfrm>
              <a:off x="5141913" y="1898651"/>
              <a:ext cx="838200" cy="1660525"/>
            </a:xfrm>
            <a:custGeom>
              <a:avLst/>
              <a:gdLst>
                <a:gd name="T0" fmla="*/ 311 w 311"/>
                <a:gd name="T1" fmla="*/ 615 h 615"/>
                <a:gd name="T2" fmla="*/ 311 w 311"/>
                <a:gd name="T3" fmla="*/ 28 h 615"/>
                <a:gd name="T4" fmla="*/ 0 w 311"/>
                <a:gd name="T5" fmla="*/ 0 h 615"/>
                <a:gd name="T6" fmla="*/ 0 w 311"/>
                <a:gd name="T7" fmla="*/ 564 h 615"/>
                <a:gd name="T8" fmla="*/ 311 w 311"/>
                <a:gd name="T9" fmla="*/ 615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1" h="615">
                  <a:moveTo>
                    <a:pt x="311" y="615"/>
                  </a:moveTo>
                  <a:cubicBezTo>
                    <a:pt x="311" y="28"/>
                    <a:pt x="311" y="28"/>
                    <a:pt x="311" y="28"/>
                  </a:cubicBezTo>
                  <a:cubicBezTo>
                    <a:pt x="215" y="10"/>
                    <a:pt x="110" y="0"/>
                    <a:pt x="0" y="0"/>
                  </a:cubicBezTo>
                  <a:cubicBezTo>
                    <a:pt x="0" y="564"/>
                    <a:pt x="0" y="564"/>
                    <a:pt x="0" y="564"/>
                  </a:cubicBezTo>
                  <a:cubicBezTo>
                    <a:pt x="118" y="564"/>
                    <a:pt x="227" y="583"/>
                    <a:pt x="311" y="615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5276850" y="3054351"/>
              <a:ext cx="1504950" cy="1987550"/>
            </a:xfrm>
            <a:custGeom>
              <a:avLst/>
              <a:gdLst>
                <a:gd name="T0" fmla="*/ 550 w 558"/>
                <a:gd name="T1" fmla="*/ 164 h 737"/>
                <a:gd name="T2" fmla="*/ 550 w 558"/>
                <a:gd name="T3" fmla="*/ 199 h 737"/>
                <a:gd name="T4" fmla="*/ 263 w 558"/>
                <a:gd name="T5" fmla="*/ 107 h 737"/>
                <a:gd name="T6" fmla="*/ 49 w 558"/>
                <a:gd name="T7" fmla="*/ 0 h 737"/>
                <a:gd name="T8" fmla="*/ 49 w 558"/>
                <a:gd name="T9" fmla="*/ 221 h 737"/>
                <a:gd name="T10" fmla="*/ 51 w 558"/>
                <a:gd name="T11" fmla="*/ 221 h 737"/>
                <a:gd name="T12" fmla="*/ 226 w 558"/>
                <a:gd name="T13" fmla="*/ 389 h 737"/>
                <a:gd name="T14" fmla="*/ 0 w 558"/>
                <a:gd name="T15" fmla="*/ 511 h 737"/>
                <a:gd name="T16" fmla="*/ 0 w 558"/>
                <a:gd name="T17" fmla="*/ 737 h 737"/>
                <a:gd name="T18" fmla="*/ 558 w 558"/>
                <a:gd name="T19" fmla="*/ 389 h 737"/>
                <a:gd name="T20" fmla="*/ 558 w 558"/>
                <a:gd name="T21" fmla="*/ 164 h 737"/>
                <a:gd name="T22" fmla="*/ 550 w 558"/>
                <a:gd name="T23" fmla="*/ 16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58" h="737">
                  <a:moveTo>
                    <a:pt x="550" y="164"/>
                  </a:moveTo>
                  <a:cubicBezTo>
                    <a:pt x="550" y="199"/>
                    <a:pt x="550" y="199"/>
                    <a:pt x="550" y="199"/>
                  </a:cubicBezTo>
                  <a:cubicBezTo>
                    <a:pt x="522" y="106"/>
                    <a:pt x="416" y="164"/>
                    <a:pt x="263" y="107"/>
                  </a:cubicBezTo>
                  <a:cubicBezTo>
                    <a:pt x="199" y="83"/>
                    <a:pt x="127" y="15"/>
                    <a:pt x="49" y="0"/>
                  </a:cubicBezTo>
                  <a:cubicBezTo>
                    <a:pt x="49" y="221"/>
                    <a:pt x="49" y="221"/>
                    <a:pt x="49" y="221"/>
                  </a:cubicBezTo>
                  <a:cubicBezTo>
                    <a:pt x="50" y="221"/>
                    <a:pt x="50" y="221"/>
                    <a:pt x="51" y="221"/>
                  </a:cubicBezTo>
                  <a:cubicBezTo>
                    <a:pt x="158" y="261"/>
                    <a:pt x="226" y="322"/>
                    <a:pt x="226" y="389"/>
                  </a:cubicBezTo>
                  <a:cubicBezTo>
                    <a:pt x="226" y="466"/>
                    <a:pt x="136" y="472"/>
                    <a:pt x="0" y="511"/>
                  </a:cubicBezTo>
                  <a:cubicBezTo>
                    <a:pt x="0" y="737"/>
                    <a:pt x="0" y="737"/>
                    <a:pt x="0" y="737"/>
                  </a:cubicBezTo>
                  <a:cubicBezTo>
                    <a:pt x="324" y="688"/>
                    <a:pt x="558" y="551"/>
                    <a:pt x="558" y="389"/>
                  </a:cubicBezTo>
                  <a:cubicBezTo>
                    <a:pt x="558" y="164"/>
                    <a:pt x="558" y="164"/>
                    <a:pt x="558" y="164"/>
                  </a:cubicBezTo>
                  <a:lnTo>
                    <a:pt x="550" y="164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4989513" y="4062413"/>
              <a:ext cx="287338" cy="979488"/>
            </a:xfrm>
            <a:custGeom>
              <a:avLst/>
              <a:gdLst>
                <a:gd name="T0" fmla="*/ 0 w 181"/>
                <a:gd name="T1" fmla="*/ 0 h 617"/>
                <a:gd name="T2" fmla="*/ 0 w 181"/>
                <a:gd name="T3" fmla="*/ 356 h 617"/>
                <a:gd name="T4" fmla="*/ 181 w 181"/>
                <a:gd name="T5" fmla="*/ 617 h 617"/>
                <a:gd name="T6" fmla="*/ 181 w 181"/>
                <a:gd name="T7" fmla="*/ 240 h 617"/>
                <a:gd name="T8" fmla="*/ 0 w 181"/>
                <a:gd name="T9" fmla="*/ 0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" h="617">
                  <a:moveTo>
                    <a:pt x="0" y="0"/>
                  </a:moveTo>
                  <a:lnTo>
                    <a:pt x="0" y="356"/>
                  </a:lnTo>
                  <a:lnTo>
                    <a:pt x="181" y="617"/>
                  </a:lnTo>
                  <a:lnTo>
                    <a:pt x="181" y="24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2663825" y="1462088"/>
              <a:ext cx="1905000" cy="2652713"/>
            </a:xfrm>
            <a:custGeom>
              <a:avLst/>
              <a:gdLst>
                <a:gd name="T0" fmla="*/ 706 w 706"/>
                <a:gd name="T1" fmla="*/ 760 h 983"/>
                <a:gd name="T2" fmla="*/ 706 w 706"/>
                <a:gd name="T3" fmla="*/ 0 h 983"/>
                <a:gd name="T4" fmla="*/ 0 w 706"/>
                <a:gd name="T5" fmla="*/ 180 h 983"/>
                <a:gd name="T6" fmla="*/ 0 w 706"/>
                <a:gd name="T7" fmla="*/ 983 h 983"/>
                <a:gd name="T8" fmla="*/ 219 w 706"/>
                <a:gd name="T9" fmla="*/ 983 h 983"/>
                <a:gd name="T10" fmla="*/ 218 w 706"/>
                <a:gd name="T11" fmla="*/ 979 h 983"/>
                <a:gd name="T12" fmla="*/ 706 w 706"/>
                <a:gd name="T13" fmla="*/ 760 h 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6" h="983">
                  <a:moveTo>
                    <a:pt x="706" y="760"/>
                  </a:moveTo>
                  <a:cubicBezTo>
                    <a:pt x="706" y="0"/>
                    <a:pt x="706" y="0"/>
                    <a:pt x="706" y="0"/>
                  </a:cubicBezTo>
                  <a:cubicBezTo>
                    <a:pt x="405" y="0"/>
                    <a:pt x="143" y="72"/>
                    <a:pt x="0" y="180"/>
                  </a:cubicBezTo>
                  <a:cubicBezTo>
                    <a:pt x="0" y="983"/>
                    <a:pt x="0" y="983"/>
                    <a:pt x="0" y="983"/>
                  </a:cubicBezTo>
                  <a:cubicBezTo>
                    <a:pt x="219" y="983"/>
                    <a:pt x="219" y="983"/>
                    <a:pt x="219" y="983"/>
                  </a:cubicBezTo>
                  <a:cubicBezTo>
                    <a:pt x="219" y="982"/>
                    <a:pt x="218" y="980"/>
                    <a:pt x="218" y="979"/>
                  </a:cubicBezTo>
                  <a:cubicBezTo>
                    <a:pt x="218" y="858"/>
                    <a:pt x="437" y="760"/>
                    <a:pt x="706" y="760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auto">
            <a:xfrm>
              <a:off x="2663825" y="2627313"/>
              <a:ext cx="771525" cy="1978025"/>
            </a:xfrm>
            <a:custGeom>
              <a:avLst/>
              <a:gdLst>
                <a:gd name="T0" fmla="*/ 486 w 486"/>
                <a:gd name="T1" fmla="*/ 0 h 1246"/>
                <a:gd name="T2" fmla="*/ 486 w 486"/>
                <a:gd name="T3" fmla="*/ 1011 h 1246"/>
                <a:gd name="T4" fmla="*/ 0 w 486"/>
                <a:gd name="T5" fmla="*/ 1246 h 1246"/>
                <a:gd name="T6" fmla="*/ 0 w 486"/>
                <a:gd name="T7" fmla="*/ 116 h 1246"/>
                <a:gd name="T8" fmla="*/ 486 w 486"/>
                <a:gd name="T9" fmla="*/ 0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6" h="1246">
                  <a:moveTo>
                    <a:pt x="486" y="0"/>
                  </a:moveTo>
                  <a:lnTo>
                    <a:pt x="486" y="1011"/>
                  </a:lnTo>
                  <a:lnTo>
                    <a:pt x="0" y="1246"/>
                  </a:lnTo>
                  <a:lnTo>
                    <a:pt x="0" y="116"/>
                  </a:lnTo>
                  <a:lnTo>
                    <a:pt x="48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2663825" y="4219576"/>
              <a:ext cx="2613025" cy="874713"/>
            </a:xfrm>
            <a:custGeom>
              <a:avLst/>
              <a:gdLst>
                <a:gd name="T0" fmla="*/ 862 w 968"/>
                <a:gd name="T1" fmla="*/ 164 h 324"/>
                <a:gd name="T2" fmla="*/ 706 w 968"/>
                <a:gd name="T3" fmla="*/ 175 h 324"/>
                <a:gd name="T4" fmla="*/ 695 w 968"/>
                <a:gd name="T5" fmla="*/ 175 h 324"/>
                <a:gd name="T6" fmla="*/ 687 w 968"/>
                <a:gd name="T7" fmla="*/ 175 h 324"/>
                <a:gd name="T8" fmla="*/ 286 w 968"/>
                <a:gd name="T9" fmla="*/ 68 h 324"/>
                <a:gd name="T10" fmla="*/ 219 w 968"/>
                <a:gd name="T11" fmla="*/ 0 h 324"/>
                <a:gd name="T12" fmla="*/ 0 w 968"/>
                <a:gd name="T13" fmla="*/ 58 h 324"/>
                <a:gd name="T14" fmla="*/ 0 w 968"/>
                <a:gd name="T15" fmla="*/ 143 h 324"/>
                <a:gd name="T16" fmla="*/ 687 w 968"/>
                <a:gd name="T17" fmla="*/ 324 h 324"/>
                <a:gd name="T18" fmla="*/ 706 w 968"/>
                <a:gd name="T19" fmla="*/ 324 h 324"/>
                <a:gd name="T20" fmla="*/ 968 w 968"/>
                <a:gd name="T21" fmla="*/ 305 h 324"/>
                <a:gd name="T22" fmla="*/ 968 w 968"/>
                <a:gd name="T23" fmla="*/ 219 h 324"/>
                <a:gd name="T24" fmla="*/ 862 w 968"/>
                <a:gd name="T25" fmla="*/ 164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8" h="324">
                  <a:moveTo>
                    <a:pt x="862" y="164"/>
                  </a:moveTo>
                  <a:cubicBezTo>
                    <a:pt x="813" y="171"/>
                    <a:pt x="761" y="175"/>
                    <a:pt x="706" y="175"/>
                  </a:cubicBezTo>
                  <a:cubicBezTo>
                    <a:pt x="702" y="175"/>
                    <a:pt x="699" y="175"/>
                    <a:pt x="695" y="175"/>
                  </a:cubicBezTo>
                  <a:cubicBezTo>
                    <a:pt x="692" y="175"/>
                    <a:pt x="690" y="175"/>
                    <a:pt x="687" y="175"/>
                  </a:cubicBezTo>
                  <a:cubicBezTo>
                    <a:pt x="516" y="172"/>
                    <a:pt x="368" y="130"/>
                    <a:pt x="286" y="68"/>
                  </a:cubicBezTo>
                  <a:cubicBezTo>
                    <a:pt x="245" y="36"/>
                    <a:pt x="221" y="39"/>
                    <a:pt x="219" y="0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140" y="249"/>
                    <a:pt x="395" y="321"/>
                    <a:pt x="687" y="324"/>
                  </a:cubicBezTo>
                  <a:cubicBezTo>
                    <a:pt x="694" y="324"/>
                    <a:pt x="700" y="324"/>
                    <a:pt x="706" y="324"/>
                  </a:cubicBezTo>
                  <a:cubicBezTo>
                    <a:pt x="798" y="324"/>
                    <a:pt x="886" y="317"/>
                    <a:pt x="968" y="305"/>
                  </a:cubicBezTo>
                  <a:cubicBezTo>
                    <a:pt x="968" y="219"/>
                    <a:pt x="968" y="219"/>
                    <a:pt x="968" y="219"/>
                  </a:cubicBezTo>
                  <a:cubicBezTo>
                    <a:pt x="935" y="229"/>
                    <a:pt x="900" y="158"/>
                    <a:pt x="862" y="164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2359025" y="2044701"/>
              <a:ext cx="304800" cy="2560638"/>
            </a:xfrm>
            <a:custGeom>
              <a:avLst/>
              <a:gdLst>
                <a:gd name="T0" fmla="*/ 7 w 113"/>
                <a:gd name="T1" fmla="*/ 136 h 949"/>
                <a:gd name="T2" fmla="*/ 7 w 113"/>
                <a:gd name="T3" fmla="*/ 101 h 949"/>
                <a:gd name="T4" fmla="*/ 0 w 113"/>
                <a:gd name="T5" fmla="*/ 101 h 949"/>
                <a:gd name="T6" fmla="*/ 0 w 113"/>
                <a:gd name="T7" fmla="*/ 763 h 949"/>
                <a:gd name="T8" fmla="*/ 113 w 113"/>
                <a:gd name="T9" fmla="*/ 949 h 949"/>
                <a:gd name="T10" fmla="*/ 113 w 113"/>
                <a:gd name="T11" fmla="*/ 0 h 949"/>
                <a:gd name="T12" fmla="*/ 7 w 113"/>
                <a:gd name="T13" fmla="*/ 136 h 9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3" h="949">
                  <a:moveTo>
                    <a:pt x="7" y="136"/>
                  </a:moveTo>
                  <a:cubicBezTo>
                    <a:pt x="7" y="101"/>
                    <a:pt x="7" y="101"/>
                    <a:pt x="7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763"/>
                    <a:pt x="0" y="763"/>
                    <a:pt x="0" y="763"/>
                  </a:cubicBezTo>
                  <a:cubicBezTo>
                    <a:pt x="0" y="831"/>
                    <a:pt x="41" y="895"/>
                    <a:pt x="113" y="949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59" y="41"/>
                    <a:pt x="22" y="87"/>
                    <a:pt x="7" y="136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auto">
            <a:xfrm>
              <a:off x="4568825" y="1993901"/>
              <a:ext cx="839788" cy="1655763"/>
            </a:xfrm>
            <a:custGeom>
              <a:avLst/>
              <a:gdLst>
                <a:gd name="T0" fmla="*/ 311 w 311"/>
                <a:gd name="T1" fmla="*/ 614 h 614"/>
                <a:gd name="T2" fmla="*/ 311 w 311"/>
                <a:gd name="T3" fmla="*/ 27 h 614"/>
                <a:gd name="T4" fmla="*/ 0 w 311"/>
                <a:gd name="T5" fmla="*/ 0 h 614"/>
                <a:gd name="T6" fmla="*/ 0 w 311"/>
                <a:gd name="T7" fmla="*/ 563 h 614"/>
                <a:gd name="T8" fmla="*/ 311 w 311"/>
                <a:gd name="T9" fmla="*/ 614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1" h="614">
                  <a:moveTo>
                    <a:pt x="311" y="614"/>
                  </a:moveTo>
                  <a:cubicBezTo>
                    <a:pt x="311" y="27"/>
                    <a:pt x="311" y="27"/>
                    <a:pt x="311" y="27"/>
                  </a:cubicBezTo>
                  <a:cubicBezTo>
                    <a:pt x="215" y="9"/>
                    <a:pt x="110" y="0"/>
                    <a:pt x="0" y="0"/>
                  </a:cubicBezTo>
                  <a:cubicBezTo>
                    <a:pt x="0" y="563"/>
                    <a:pt x="0" y="563"/>
                    <a:pt x="0" y="563"/>
                  </a:cubicBezTo>
                  <a:cubicBezTo>
                    <a:pt x="118" y="563"/>
                    <a:pt x="227" y="582"/>
                    <a:pt x="311" y="614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auto">
            <a:xfrm>
              <a:off x="4568825" y="1747838"/>
              <a:ext cx="1411288" cy="542925"/>
            </a:xfrm>
            <a:custGeom>
              <a:avLst/>
              <a:gdLst>
                <a:gd name="T0" fmla="*/ 311 w 523"/>
                <a:gd name="T1" fmla="*/ 201 h 201"/>
                <a:gd name="T2" fmla="*/ 523 w 523"/>
                <a:gd name="T3" fmla="*/ 84 h 201"/>
                <a:gd name="T4" fmla="*/ 0 w 523"/>
                <a:gd name="T5" fmla="*/ 0 h 201"/>
                <a:gd name="T6" fmla="*/ 0 w 523"/>
                <a:gd name="T7" fmla="*/ 149 h 201"/>
                <a:gd name="T8" fmla="*/ 311 w 523"/>
                <a:gd name="T9" fmla="*/ 201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3" h="201">
                  <a:moveTo>
                    <a:pt x="311" y="201"/>
                  </a:moveTo>
                  <a:cubicBezTo>
                    <a:pt x="523" y="84"/>
                    <a:pt x="523" y="84"/>
                    <a:pt x="523" y="84"/>
                  </a:cubicBezTo>
                  <a:cubicBezTo>
                    <a:pt x="381" y="31"/>
                    <a:pt x="200" y="0"/>
                    <a:pt x="0" y="0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119" y="149"/>
                    <a:pt x="226" y="169"/>
                    <a:pt x="311" y="201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auto">
            <a:xfrm>
              <a:off x="4989513" y="2746376"/>
              <a:ext cx="1792288" cy="1697038"/>
            </a:xfrm>
            <a:custGeom>
              <a:avLst/>
              <a:gdLst>
                <a:gd name="T0" fmla="*/ 664 w 664"/>
                <a:gd name="T1" fmla="*/ 281 h 629"/>
                <a:gd name="T2" fmla="*/ 369 w 664"/>
                <a:gd name="T3" fmla="*/ 0 h 629"/>
                <a:gd name="T4" fmla="*/ 155 w 664"/>
                <a:gd name="T5" fmla="*/ 114 h 629"/>
                <a:gd name="T6" fmla="*/ 332 w 664"/>
                <a:gd name="T7" fmla="*/ 281 h 629"/>
                <a:gd name="T8" fmla="*/ 0 w 664"/>
                <a:gd name="T9" fmla="*/ 488 h 629"/>
                <a:gd name="T10" fmla="*/ 106 w 664"/>
                <a:gd name="T11" fmla="*/ 629 h 629"/>
                <a:gd name="T12" fmla="*/ 664 w 664"/>
                <a:gd name="T13" fmla="*/ 281 h 6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4" h="629">
                  <a:moveTo>
                    <a:pt x="664" y="281"/>
                  </a:moveTo>
                  <a:cubicBezTo>
                    <a:pt x="664" y="168"/>
                    <a:pt x="549" y="67"/>
                    <a:pt x="369" y="0"/>
                  </a:cubicBezTo>
                  <a:cubicBezTo>
                    <a:pt x="155" y="114"/>
                    <a:pt x="155" y="114"/>
                    <a:pt x="155" y="114"/>
                  </a:cubicBezTo>
                  <a:cubicBezTo>
                    <a:pt x="262" y="155"/>
                    <a:pt x="332" y="214"/>
                    <a:pt x="332" y="281"/>
                  </a:cubicBezTo>
                  <a:cubicBezTo>
                    <a:pt x="332" y="378"/>
                    <a:pt x="193" y="459"/>
                    <a:pt x="0" y="488"/>
                  </a:cubicBezTo>
                  <a:cubicBezTo>
                    <a:pt x="106" y="629"/>
                    <a:pt x="106" y="629"/>
                    <a:pt x="106" y="629"/>
                  </a:cubicBezTo>
                  <a:cubicBezTo>
                    <a:pt x="430" y="580"/>
                    <a:pt x="664" y="443"/>
                    <a:pt x="664" y="281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" name="Freeform 15"/>
            <p:cNvSpPr>
              <a:spLocks/>
            </p:cNvSpPr>
            <p:nvPr/>
          </p:nvSpPr>
          <p:spPr bwMode="auto">
            <a:xfrm>
              <a:off x="2663825" y="4170363"/>
              <a:ext cx="2613025" cy="693738"/>
            </a:xfrm>
            <a:custGeom>
              <a:avLst/>
              <a:gdLst>
                <a:gd name="T0" fmla="*/ 862 w 968"/>
                <a:gd name="T1" fmla="*/ 97 h 257"/>
                <a:gd name="T2" fmla="*/ 706 w 968"/>
                <a:gd name="T3" fmla="*/ 108 h 257"/>
                <a:gd name="T4" fmla="*/ 695 w 968"/>
                <a:gd name="T5" fmla="*/ 108 h 257"/>
                <a:gd name="T6" fmla="*/ 286 w 968"/>
                <a:gd name="T7" fmla="*/ 0 h 257"/>
                <a:gd name="T8" fmla="*/ 0 w 968"/>
                <a:gd name="T9" fmla="*/ 76 h 257"/>
                <a:gd name="T10" fmla="*/ 687 w 968"/>
                <a:gd name="T11" fmla="*/ 256 h 257"/>
                <a:gd name="T12" fmla="*/ 706 w 968"/>
                <a:gd name="T13" fmla="*/ 257 h 257"/>
                <a:gd name="T14" fmla="*/ 968 w 968"/>
                <a:gd name="T15" fmla="*/ 237 h 257"/>
                <a:gd name="T16" fmla="*/ 862 w 968"/>
                <a:gd name="T17" fmla="*/ 9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8" h="257">
                  <a:moveTo>
                    <a:pt x="862" y="97"/>
                  </a:moveTo>
                  <a:cubicBezTo>
                    <a:pt x="813" y="104"/>
                    <a:pt x="761" y="108"/>
                    <a:pt x="706" y="108"/>
                  </a:cubicBezTo>
                  <a:cubicBezTo>
                    <a:pt x="702" y="108"/>
                    <a:pt x="699" y="108"/>
                    <a:pt x="695" y="108"/>
                  </a:cubicBezTo>
                  <a:cubicBezTo>
                    <a:pt x="521" y="106"/>
                    <a:pt x="369" y="63"/>
                    <a:pt x="286" y="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140" y="182"/>
                    <a:pt x="395" y="253"/>
                    <a:pt x="687" y="256"/>
                  </a:cubicBezTo>
                  <a:cubicBezTo>
                    <a:pt x="694" y="256"/>
                    <a:pt x="700" y="257"/>
                    <a:pt x="706" y="257"/>
                  </a:cubicBezTo>
                  <a:cubicBezTo>
                    <a:pt x="798" y="257"/>
                    <a:pt x="886" y="250"/>
                    <a:pt x="968" y="237"/>
                  </a:cubicBezTo>
                  <a:lnTo>
                    <a:pt x="862" y="97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auto">
            <a:xfrm>
              <a:off x="2359025" y="1338263"/>
              <a:ext cx="2209800" cy="1492250"/>
            </a:xfrm>
            <a:custGeom>
              <a:avLst/>
              <a:gdLst>
                <a:gd name="T0" fmla="*/ 331 w 819"/>
                <a:gd name="T1" fmla="*/ 367 h 553"/>
                <a:gd name="T2" fmla="*/ 819 w 819"/>
                <a:gd name="T3" fmla="*/ 176 h 553"/>
                <a:gd name="T4" fmla="*/ 819 w 819"/>
                <a:gd name="T5" fmla="*/ 149 h 553"/>
                <a:gd name="T6" fmla="*/ 819 w 819"/>
                <a:gd name="T7" fmla="*/ 0 h 553"/>
                <a:gd name="T8" fmla="*/ 819 w 819"/>
                <a:gd name="T9" fmla="*/ 0 h 553"/>
                <a:gd name="T10" fmla="*/ 0 w 819"/>
                <a:gd name="T11" fmla="*/ 367 h 553"/>
                <a:gd name="T12" fmla="*/ 113 w 819"/>
                <a:gd name="T13" fmla="*/ 553 h 553"/>
                <a:gd name="T14" fmla="*/ 399 w 819"/>
                <a:gd name="T15" fmla="*/ 478 h 553"/>
                <a:gd name="T16" fmla="*/ 331 w 819"/>
                <a:gd name="T17" fmla="*/ 367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9" h="553">
                  <a:moveTo>
                    <a:pt x="331" y="367"/>
                  </a:moveTo>
                  <a:cubicBezTo>
                    <a:pt x="331" y="246"/>
                    <a:pt x="550" y="176"/>
                    <a:pt x="819" y="176"/>
                  </a:cubicBezTo>
                  <a:cubicBezTo>
                    <a:pt x="819" y="149"/>
                    <a:pt x="819" y="149"/>
                    <a:pt x="819" y="149"/>
                  </a:cubicBezTo>
                  <a:cubicBezTo>
                    <a:pt x="819" y="0"/>
                    <a:pt x="819" y="0"/>
                    <a:pt x="819" y="0"/>
                  </a:cubicBezTo>
                  <a:cubicBezTo>
                    <a:pt x="819" y="0"/>
                    <a:pt x="819" y="0"/>
                    <a:pt x="819" y="0"/>
                  </a:cubicBezTo>
                  <a:cubicBezTo>
                    <a:pt x="367" y="0"/>
                    <a:pt x="0" y="164"/>
                    <a:pt x="0" y="367"/>
                  </a:cubicBezTo>
                  <a:cubicBezTo>
                    <a:pt x="0" y="435"/>
                    <a:pt x="41" y="499"/>
                    <a:pt x="113" y="553"/>
                  </a:cubicBezTo>
                  <a:cubicBezTo>
                    <a:pt x="399" y="478"/>
                    <a:pt x="399" y="478"/>
                    <a:pt x="399" y="478"/>
                  </a:cubicBezTo>
                  <a:cubicBezTo>
                    <a:pt x="356" y="446"/>
                    <a:pt x="331" y="408"/>
                    <a:pt x="331" y="367"/>
                  </a:cubicBez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accent2">
                    <a:lumMod val="60000"/>
                    <a:lumOff val="40000"/>
                  </a:schemeClr>
                </a:solidFill>
              </a:endParaRPr>
            </a:p>
          </p:txBody>
        </p:sp>
      </p:grpSp>
      <p:sp>
        <p:nvSpPr>
          <p:cNvPr id="20" name="Rectangle 19"/>
          <p:cNvSpPr/>
          <p:nvPr>
            <p:custDataLst>
              <p:tags r:id="rId1"/>
            </p:custDataLst>
          </p:nvPr>
        </p:nvSpPr>
        <p:spPr>
          <a:xfrm>
            <a:off x="2395613" y="4983972"/>
            <a:ext cx="1639815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P 1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4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aS</a:t>
            </a:r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rovider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4103298" y="4983972"/>
            <a:ext cx="0" cy="836762"/>
          </a:xfrm>
          <a:prstGeom prst="line">
            <a:avLst/>
          </a:prstGeom>
          <a:ln w="3175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5923255" y="4983972"/>
            <a:ext cx="0" cy="836762"/>
          </a:xfrm>
          <a:prstGeom prst="line">
            <a:avLst/>
          </a:prstGeom>
          <a:ln w="3175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7734802" y="4983972"/>
            <a:ext cx="0" cy="836762"/>
          </a:xfrm>
          <a:prstGeom prst="line">
            <a:avLst/>
          </a:prstGeom>
          <a:ln w="3175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112EC10B-8B21-1D45-89C1-712DF5B2626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159434" y="4983972"/>
            <a:ext cx="1639815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P 2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kenize Non-fungible Real Estate Assets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6A3E936-4BD7-3E48-916A-97458F6520F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989954" y="5014265"/>
            <a:ext cx="1639815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P 3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see Sales and Transfer of Ownership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E497F21-6F63-B149-8C1C-998A4268225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753775" y="5014265"/>
            <a:ext cx="1639815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4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P 4</a:t>
            </a:r>
            <a:endParaRPr lang="en-US" sz="14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400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ale with Front End Interface</a:t>
            </a:r>
            <a:endParaRPr lang="en-US" sz="14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717059" y="757881"/>
            <a:ext cx="510746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Scale the business to provide a front end user interface allowing easier viewing for potential buyers.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2867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heme/theme1.xml><?xml version="1.0" encoding="utf-8"?>
<a:theme xmlns:a="http://schemas.openxmlformats.org/drawingml/2006/main" name="Office Theme">
  <a:themeElements>
    <a:clrScheme name="SlideShop - Individual Slides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EABC53"/>
      </a:accent1>
      <a:accent2>
        <a:srgbClr val="58A6CF"/>
      </a:accent2>
      <a:accent3>
        <a:srgbClr val="3B549A"/>
      </a:accent3>
      <a:accent4>
        <a:srgbClr val="E36751"/>
      </a:accent4>
      <a:accent5>
        <a:srgbClr val="6955A0"/>
      </a:accent5>
      <a:accent6>
        <a:srgbClr val="222424"/>
      </a:accent6>
      <a:hlink>
        <a:srgbClr val="3A4762"/>
      </a:hlink>
      <a:folHlink>
        <a:srgbClr val="88C5D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2</TotalTime>
  <Words>216</Words>
  <Application>Microsoft Office PowerPoint</Application>
  <PresentationFormat>Widescreen</PresentationFormat>
  <Paragraphs>49</Paragraphs>
  <Slides>6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rial</vt:lpstr>
      <vt:lpstr>Calibri</vt:lpstr>
      <vt:lpstr>Calibri Light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auren Butler</dc:creator>
  <cp:lastModifiedBy>Mina Kasrai</cp:lastModifiedBy>
  <cp:revision>88</cp:revision>
  <dcterms:created xsi:type="dcterms:W3CDTF">2019-09-20T16:50:13Z</dcterms:created>
  <dcterms:modified xsi:type="dcterms:W3CDTF">2020-01-23T19:23:21Z</dcterms:modified>
</cp:coreProperties>
</file>